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3" r:id="rId3"/>
    <p:sldMasterId id="2147483696" r:id="rId4"/>
    <p:sldMasterId id="2147483709" r:id="rId5"/>
    <p:sldMasterId id="2147483815" r:id="rId6"/>
    <p:sldMasterId id="2147483822" r:id="rId7"/>
  </p:sldMasterIdLst>
  <p:notesMasterIdLst>
    <p:notesMasterId r:id="rId15"/>
  </p:notesMasterIdLst>
  <p:sldIdLst>
    <p:sldId id="2714" r:id="rId8"/>
    <p:sldId id="2736" r:id="rId9"/>
    <p:sldId id="2737" r:id="rId10"/>
    <p:sldId id="2725" r:id="rId11"/>
    <p:sldId id="2738" r:id="rId12"/>
    <p:sldId id="2739" r:id="rId13"/>
    <p:sldId id="2733" r:id="rId14"/>
  </p:sldIdLst>
  <p:sldSz cx="12192000" cy="6858000"/>
  <p:notesSz cx="6805613" cy="99441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Reddy" initials="" lastIdx="3" clrIdx="0"/>
  <p:cmAuthor id="1" name="Laura Amaya" initials="LA" lastIdx="4" clrIdx="1"/>
  <p:cmAuthor id="2" name="Christina Hooson" initials="CH" lastIdx="3" clrIdx="2"/>
  <p:cmAuthor id="3" name="Sebastien Mazzuri" initials="SMZ" lastIdx="8" clrIdx="3"/>
  <p:cmAuthor id="4" name="George Jagoe" initials="GJ" lastIdx="4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C4D0DB"/>
    <a:srgbClr val="DDEBF7"/>
    <a:srgbClr val="80C535"/>
    <a:srgbClr val="FF6699"/>
    <a:srgbClr val="CCFFCC"/>
    <a:srgbClr val="660066"/>
    <a:srgbClr val="E4B0BB"/>
    <a:srgbClr val="EACCFC"/>
    <a:srgbClr val="F0D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4F9616A-BA5B-494F-9659-2EECEE2BBE7D}" v="69" dt="2025-03-05T09:20:46.6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477" autoAdjust="0"/>
    <p:restoredTop sz="76021" autoAdjust="0"/>
  </p:normalViewPr>
  <p:slideViewPr>
    <p:cSldViewPr snapToGrid="0">
      <p:cViewPr varScale="1">
        <p:scale>
          <a:sx n="151" d="100"/>
          <a:sy n="151" d="100"/>
        </p:scale>
        <p:origin x="3516" y="354"/>
      </p:cViewPr>
      <p:guideLst>
        <p:guide orient="horz" pos="34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eline Audibert" userId="8796d7c5-f4bb-47e6-92d8-58fb126ac2b1" providerId="ADAL" clId="{84F9616A-BA5B-494F-9659-2EECEE2BBE7D}"/>
    <pc:docChg chg="undo redo custSel addSld delSld modSld">
      <pc:chgData name="Celine Audibert" userId="8796d7c5-f4bb-47e6-92d8-58fb126ac2b1" providerId="ADAL" clId="{84F9616A-BA5B-494F-9659-2EECEE2BBE7D}" dt="2025-03-05T09:20:46.684" v="1131" actId="207"/>
      <pc:docMkLst>
        <pc:docMk/>
      </pc:docMkLst>
      <pc:sldChg chg="del">
        <pc:chgData name="Celine Audibert" userId="8796d7c5-f4bb-47e6-92d8-58fb126ac2b1" providerId="ADAL" clId="{84F9616A-BA5B-494F-9659-2EECEE2BBE7D}" dt="2025-02-18T08:40:17.764" v="504" actId="47"/>
        <pc:sldMkLst>
          <pc:docMk/>
          <pc:sldMk cId="1280398344" sldId="2599"/>
        </pc:sldMkLst>
      </pc:sldChg>
      <pc:sldChg chg="del">
        <pc:chgData name="Celine Audibert" userId="8796d7c5-f4bb-47e6-92d8-58fb126ac2b1" providerId="ADAL" clId="{84F9616A-BA5B-494F-9659-2EECEE2BBE7D}" dt="2025-02-18T07:38:07.592" v="1" actId="47"/>
        <pc:sldMkLst>
          <pc:docMk/>
          <pc:sldMk cId="1975956018" sldId="2689"/>
        </pc:sldMkLst>
      </pc:sldChg>
      <pc:sldChg chg="del">
        <pc:chgData name="Celine Audibert" userId="8796d7c5-f4bb-47e6-92d8-58fb126ac2b1" providerId="ADAL" clId="{84F9616A-BA5B-494F-9659-2EECEE2BBE7D}" dt="2025-02-18T07:38:04.125" v="0" actId="47"/>
        <pc:sldMkLst>
          <pc:docMk/>
          <pc:sldMk cId="810809228" sldId="2712"/>
        </pc:sldMkLst>
      </pc:sldChg>
      <pc:sldChg chg="modSp mod">
        <pc:chgData name="Celine Audibert" userId="8796d7c5-f4bb-47e6-92d8-58fb126ac2b1" providerId="ADAL" clId="{84F9616A-BA5B-494F-9659-2EECEE2BBE7D}" dt="2025-02-18T08:45:14.652" v="617" actId="20577"/>
        <pc:sldMkLst>
          <pc:docMk/>
          <pc:sldMk cId="1803496329" sldId="2714"/>
        </pc:sldMkLst>
        <pc:spChg chg="mod">
          <ac:chgData name="Celine Audibert" userId="8796d7c5-f4bb-47e6-92d8-58fb126ac2b1" providerId="ADAL" clId="{84F9616A-BA5B-494F-9659-2EECEE2BBE7D}" dt="2025-02-18T08:45:14.652" v="617" actId="20577"/>
          <ac:spMkLst>
            <pc:docMk/>
            <pc:sldMk cId="1803496329" sldId="2714"/>
            <ac:spMk id="9218" creationId="{430D92CA-D486-489C-A22E-AA96F9BADF84}"/>
          </ac:spMkLst>
        </pc:spChg>
      </pc:sldChg>
      <pc:sldChg chg="addSp modSp mod">
        <pc:chgData name="Celine Audibert" userId="8796d7c5-f4bb-47e6-92d8-58fb126ac2b1" providerId="ADAL" clId="{84F9616A-BA5B-494F-9659-2EECEE2BBE7D}" dt="2025-02-20T16:31:50.324" v="1120" actId="20577"/>
        <pc:sldMkLst>
          <pc:docMk/>
          <pc:sldMk cId="1880766328" sldId="2725"/>
        </pc:sldMkLst>
        <pc:spChg chg="mod">
          <ac:chgData name="Celine Audibert" userId="8796d7c5-f4bb-47e6-92d8-58fb126ac2b1" providerId="ADAL" clId="{84F9616A-BA5B-494F-9659-2EECEE2BBE7D}" dt="2025-02-20T16:31:50.324" v="1120" actId="20577"/>
          <ac:spMkLst>
            <pc:docMk/>
            <pc:sldMk cId="1880766328" sldId="2725"/>
            <ac:spMk id="2" creationId="{A2E70CD0-81F4-4A8D-ADC4-170D2859B603}"/>
          </ac:spMkLst>
        </pc:spChg>
        <pc:spChg chg="add mod">
          <ac:chgData name="Celine Audibert" userId="8796d7c5-f4bb-47e6-92d8-58fb126ac2b1" providerId="ADAL" clId="{84F9616A-BA5B-494F-9659-2EECEE2BBE7D}" dt="2025-02-18T08:00:40.931" v="42"/>
          <ac:spMkLst>
            <pc:docMk/>
            <pc:sldMk cId="1880766328" sldId="2725"/>
            <ac:spMk id="3" creationId="{F901F3DA-FE49-84A1-367C-D33F4BC2552B}"/>
          </ac:spMkLst>
        </pc:spChg>
        <pc:spChg chg="mod">
          <ac:chgData name="Celine Audibert" userId="8796d7c5-f4bb-47e6-92d8-58fb126ac2b1" providerId="ADAL" clId="{84F9616A-BA5B-494F-9659-2EECEE2BBE7D}" dt="2025-02-20T16:31:21.841" v="1075" actId="20577"/>
          <ac:spMkLst>
            <pc:docMk/>
            <pc:sldMk cId="1880766328" sldId="2725"/>
            <ac:spMk id="8" creationId="{F1147286-4B97-4CDC-B06F-33BD60399246}"/>
          </ac:spMkLst>
        </pc:spChg>
        <pc:graphicFrameChg chg="mod">
          <ac:chgData name="Celine Audibert" userId="8796d7c5-f4bb-47e6-92d8-58fb126ac2b1" providerId="ADAL" clId="{84F9616A-BA5B-494F-9659-2EECEE2BBE7D}" dt="2025-02-20T16:29:55.285" v="965"/>
          <ac:graphicFrameMkLst>
            <pc:docMk/>
            <pc:sldMk cId="1880766328" sldId="2725"/>
            <ac:graphicFrameMk id="7" creationId="{024EAE33-EFAF-592B-115C-73E9206ADCF3}"/>
          </ac:graphicFrameMkLst>
        </pc:graphicFrameChg>
      </pc:sldChg>
      <pc:sldChg chg="del">
        <pc:chgData name="Celine Audibert" userId="8796d7c5-f4bb-47e6-92d8-58fb126ac2b1" providerId="ADAL" clId="{84F9616A-BA5B-494F-9659-2EECEE2BBE7D}" dt="2025-02-18T07:38:07.592" v="1" actId="47"/>
        <pc:sldMkLst>
          <pc:docMk/>
          <pc:sldMk cId="2106665487" sldId="2726"/>
        </pc:sldMkLst>
      </pc:sldChg>
      <pc:sldChg chg="del">
        <pc:chgData name="Celine Audibert" userId="8796d7c5-f4bb-47e6-92d8-58fb126ac2b1" providerId="ADAL" clId="{84F9616A-BA5B-494F-9659-2EECEE2BBE7D}" dt="2025-02-18T07:38:07.592" v="1" actId="47"/>
        <pc:sldMkLst>
          <pc:docMk/>
          <pc:sldMk cId="2053500668" sldId="2728"/>
        </pc:sldMkLst>
      </pc:sldChg>
      <pc:sldChg chg="del">
        <pc:chgData name="Celine Audibert" userId="8796d7c5-f4bb-47e6-92d8-58fb126ac2b1" providerId="ADAL" clId="{84F9616A-BA5B-494F-9659-2EECEE2BBE7D}" dt="2025-02-18T07:38:04.125" v="0" actId="47"/>
        <pc:sldMkLst>
          <pc:docMk/>
          <pc:sldMk cId="2808528958" sldId="2729"/>
        </pc:sldMkLst>
      </pc:sldChg>
      <pc:sldChg chg="del">
        <pc:chgData name="Celine Audibert" userId="8796d7c5-f4bb-47e6-92d8-58fb126ac2b1" providerId="ADAL" clId="{84F9616A-BA5B-494F-9659-2EECEE2BBE7D}" dt="2025-02-18T07:38:04.125" v="0" actId="47"/>
        <pc:sldMkLst>
          <pc:docMk/>
          <pc:sldMk cId="4214830840" sldId="2732"/>
        </pc:sldMkLst>
      </pc:sldChg>
      <pc:sldChg chg="addSp delSp modSp mod">
        <pc:chgData name="Celine Audibert" userId="8796d7c5-f4bb-47e6-92d8-58fb126ac2b1" providerId="ADAL" clId="{84F9616A-BA5B-494F-9659-2EECEE2BBE7D}" dt="2025-02-18T13:05:15.205" v="714" actId="20577"/>
        <pc:sldMkLst>
          <pc:docMk/>
          <pc:sldMk cId="417165631" sldId="2733"/>
        </pc:sldMkLst>
        <pc:spChg chg="mod">
          <ac:chgData name="Celine Audibert" userId="8796d7c5-f4bb-47e6-92d8-58fb126ac2b1" providerId="ADAL" clId="{84F9616A-BA5B-494F-9659-2EECEE2BBE7D}" dt="2025-02-18T08:44:42.019" v="616" actId="20577"/>
          <ac:spMkLst>
            <pc:docMk/>
            <pc:sldMk cId="417165631" sldId="2733"/>
            <ac:spMk id="2" creationId="{A2E70CD0-81F4-4A8D-ADC4-170D2859B603}"/>
          </ac:spMkLst>
        </pc:spChg>
        <pc:spChg chg="add mod">
          <ac:chgData name="Celine Audibert" userId="8796d7c5-f4bb-47e6-92d8-58fb126ac2b1" providerId="ADAL" clId="{84F9616A-BA5B-494F-9659-2EECEE2BBE7D}" dt="2025-02-18T08:43:17.631" v="590" actId="2710"/>
          <ac:spMkLst>
            <pc:docMk/>
            <pc:sldMk cId="417165631" sldId="2733"/>
            <ac:spMk id="7" creationId="{F60DC0CB-C257-30C8-3071-EFD03BA03A7A}"/>
          </ac:spMkLst>
        </pc:spChg>
        <pc:spChg chg="add mod">
          <ac:chgData name="Celine Audibert" userId="8796d7c5-f4bb-47e6-92d8-58fb126ac2b1" providerId="ADAL" clId="{84F9616A-BA5B-494F-9659-2EECEE2BBE7D}" dt="2025-02-18T13:05:15.205" v="714" actId="20577"/>
          <ac:spMkLst>
            <pc:docMk/>
            <pc:sldMk cId="417165631" sldId="2733"/>
            <ac:spMk id="8" creationId="{42D5F113-8CB7-5162-10A7-82EE127AF031}"/>
          </ac:spMkLst>
        </pc:spChg>
      </pc:sldChg>
      <pc:sldChg chg="del">
        <pc:chgData name="Celine Audibert" userId="8796d7c5-f4bb-47e6-92d8-58fb126ac2b1" providerId="ADAL" clId="{84F9616A-BA5B-494F-9659-2EECEE2BBE7D}" dt="2025-02-18T07:38:04.125" v="0" actId="47"/>
        <pc:sldMkLst>
          <pc:docMk/>
          <pc:sldMk cId="3719720592" sldId="2734"/>
        </pc:sldMkLst>
      </pc:sldChg>
      <pc:sldChg chg="del">
        <pc:chgData name="Celine Audibert" userId="8796d7c5-f4bb-47e6-92d8-58fb126ac2b1" providerId="ADAL" clId="{84F9616A-BA5B-494F-9659-2EECEE2BBE7D}" dt="2025-02-18T07:38:04.125" v="0" actId="47"/>
        <pc:sldMkLst>
          <pc:docMk/>
          <pc:sldMk cId="1964823159" sldId="2735"/>
        </pc:sldMkLst>
      </pc:sldChg>
      <pc:sldChg chg="addSp delSp modSp mod">
        <pc:chgData name="Celine Audibert" userId="8796d7c5-f4bb-47e6-92d8-58fb126ac2b1" providerId="ADAL" clId="{84F9616A-BA5B-494F-9659-2EECEE2BBE7D}" dt="2025-03-05T09:20:46.684" v="1131" actId="207"/>
        <pc:sldMkLst>
          <pc:docMk/>
          <pc:sldMk cId="4196423954" sldId="2736"/>
        </pc:sldMkLst>
        <pc:spChg chg="mod">
          <ac:chgData name="Celine Audibert" userId="8796d7c5-f4bb-47e6-92d8-58fb126ac2b1" providerId="ADAL" clId="{84F9616A-BA5B-494F-9659-2EECEE2BBE7D}" dt="2025-03-05T09:18:32.389" v="1122" actId="20577"/>
          <ac:spMkLst>
            <pc:docMk/>
            <pc:sldMk cId="4196423954" sldId="2736"/>
            <ac:spMk id="26" creationId="{04E7B442-A860-447B-A8A9-36AAB9479028}"/>
          </ac:spMkLst>
        </pc:spChg>
        <pc:graphicFrameChg chg="add mod">
          <ac:chgData name="Celine Audibert" userId="8796d7c5-f4bb-47e6-92d8-58fb126ac2b1" providerId="ADAL" clId="{84F9616A-BA5B-494F-9659-2EECEE2BBE7D}" dt="2025-03-05T09:20:46.684" v="1131" actId="207"/>
          <ac:graphicFrameMkLst>
            <pc:docMk/>
            <pc:sldMk cId="4196423954" sldId="2736"/>
            <ac:graphicFrameMk id="2" creationId="{E1C2FB3E-AC63-42F1-A106-7DF06F86A6C8}"/>
          </ac:graphicFrameMkLst>
        </pc:graphicFrameChg>
        <pc:graphicFrameChg chg="del">
          <ac:chgData name="Celine Audibert" userId="8796d7c5-f4bb-47e6-92d8-58fb126ac2b1" providerId="ADAL" clId="{84F9616A-BA5B-494F-9659-2EECEE2BBE7D}" dt="2025-03-05T09:19:25.039" v="1123" actId="478"/>
          <ac:graphicFrameMkLst>
            <pc:docMk/>
            <pc:sldMk cId="4196423954" sldId="2736"/>
            <ac:graphicFrameMk id="3" creationId="{E1C2FB3E-AC63-42F1-A106-7DF06F86A6C8}"/>
          </ac:graphicFrameMkLst>
        </pc:graphicFrameChg>
      </pc:sldChg>
      <pc:sldChg chg="modSp mod">
        <pc:chgData name="Celine Audibert" userId="8796d7c5-f4bb-47e6-92d8-58fb126ac2b1" providerId="ADAL" clId="{84F9616A-BA5B-494F-9659-2EECEE2BBE7D}" dt="2025-02-20T16:17:00.514" v="961" actId="20577"/>
        <pc:sldMkLst>
          <pc:docMk/>
          <pc:sldMk cId="2970884594" sldId="2737"/>
        </pc:sldMkLst>
        <pc:spChg chg="mod">
          <ac:chgData name="Celine Audibert" userId="8796d7c5-f4bb-47e6-92d8-58fb126ac2b1" providerId="ADAL" clId="{84F9616A-BA5B-494F-9659-2EECEE2BBE7D}" dt="2025-02-20T16:17:00.514" v="961" actId="20577"/>
          <ac:spMkLst>
            <pc:docMk/>
            <pc:sldMk cId="2970884594" sldId="2737"/>
            <ac:spMk id="26" creationId="{04E7B442-A860-447B-A8A9-36AAB9479028}"/>
          </ac:spMkLst>
        </pc:spChg>
      </pc:sldChg>
      <pc:sldChg chg="addSp modSp mod">
        <pc:chgData name="Celine Audibert" userId="8796d7c5-f4bb-47e6-92d8-58fb126ac2b1" providerId="ADAL" clId="{84F9616A-BA5B-494F-9659-2EECEE2BBE7D}" dt="2025-02-18T14:50:08.552" v="837" actId="27918"/>
        <pc:sldMkLst>
          <pc:docMk/>
          <pc:sldMk cId="3277909485" sldId="2738"/>
        </pc:sldMkLst>
        <pc:spChg chg="add mod">
          <ac:chgData name="Celine Audibert" userId="8796d7c5-f4bb-47e6-92d8-58fb126ac2b1" providerId="ADAL" clId="{84F9616A-BA5B-494F-9659-2EECEE2BBE7D}" dt="2025-02-18T08:00:47.096" v="43"/>
          <ac:spMkLst>
            <pc:docMk/>
            <pc:sldMk cId="3277909485" sldId="2738"/>
            <ac:spMk id="5" creationId="{DBA4C94B-88AA-15B3-5AFF-CDEE5925E2C9}"/>
          </ac:spMkLst>
        </pc:spChg>
        <pc:spChg chg="mod">
          <ac:chgData name="Celine Audibert" userId="8796d7c5-f4bb-47e6-92d8-58fb126ac2b1" providerId="ADAL" clId="{84F9616A-BA5B-494F-9659-2EECEE2BBE7D}" dt="2025-02-18T14:22:05.865" v="730" actId="20577"/>
          <ac:spMkLst>
            <pc:docMk/>
            <pc:sldMk cId="3277909485" sldId="2738"/>
            <ac:spMk id="8" creationId="{B88A8EED-60DD-8C23-CF67-A21A7428C0C7}"/>
          </ac:spMkLst>
        </pc:spChg>
      </pc:sldChg>
      <pc:sldChg chg="addSp delSp modSp add mod">
        <pc:chgData name="Celine Audibert" userId="8796d7c5-f4bb-47e6-92d8-58fb126ac2b1" providerId="ADAL" clId="{84F9616A-BA5B-494F-9659-2EECEE2BBE7D}" dt="2025-02-20T16:15:58.664" v="957" actId="1038"/>
        <pc:sldMkLst>
          <pc:docMk/>
          <pc:sldMk cId="1401601479" sldId="2739"/>
        </pc:sldMkLst>
        <pc:spChg chg="mod">
          <ac:chgData name="Celine Audibert" userId="8796d7c5-f4bb-47e6-92d8-58fb126ac2b1" providerId="ADAL" clId="{84F9616A-BA5B-494F-9659-2EECEE2BBE7D}" dt="2025-02-18T08:10:02.973" v="149" actId="20577"/>
          <ac:spMkLst>
            <pc:docMk/>
            <pc:sldMk cId="1401601479" sldId="2739"/>
            <ac:spMk id="2" creationId="{CA2C195C-3A3B-F4EB-6C20-4ACC838C4CB0}"/>
          </ac:spMkLst>
        </pc:spChg>
        <pc:spChg chg="add mod">
          <ac:chgData name="Celine Audibert" userId="8796d7c5-f4bb-47e6-92d8-58fb126ac2b1" providerId="ADAL" clId="{84F9616A-BA5B-494F-9659-2EECEE2BBE7D}" dt="2025-02-18T08:02:36.759" v="119" actId="20577"/>
          <ac:spMkLst>
            <pc:docMk/>
            <pc:sldMk cId="1401601479" sldId="2739"/>
            <ac:spMk id="9" creationId="{79945789-2AFF-D0B2-F2F8-85E2A6314F0C}"/>
          </ac:spMkLst>
        </pc:spChg>
        <pc:graphicFrameChg chg="add mod">
          <ac:chgData name="Celine Audibert" userId="8796d7c5-f4bb-47e6-92d8-58fb126ac2b1" providerId="ADAL" clId="{84F9616A-BA5B-494F-9659-2EECEE2BBE7D}" dt="2025-02-20T16:15:02.711" v="896" actId="167"/>
          <ac:graphicFrameMkLst>
            <pc:docMk/>
            <pc:sldMk cId="1401601479" sldId="2739"/>
            <ac:graphicFrameMk id="3" creationId="{3C0E00F1-01BB-9234-FDB9-052BC890B064}"/>
          </ac:graphicFrameMkLst>
        </pc:graphicFrameChg>
        <pc:graphicFrameChg chg="add mod">
          <ac:chgData name="Celine Audibert" userId="8796d7c5-f4bb-47e6-92d8-58fb126ac2b1" providerId="ADAL" clId="{84F9616A-BA5B-494F-9659-2EECEE2BBE7D}" dt="2025-02-18T08:09:26.202" v="121" actId="20577"/>
          <ac:graphicFrameMkLst>
            <pc:docMk/>
            <pc:sldMk cId="1401601479" sldId="2739"/>
            <ac:graphicFrameMk id="5" creationId="{8F586982-2808-CBE4-AC5B-3618358BE3FB}"/>
          </ac:graphicFrameMkLst>
        </pc:graphicFrameChg>
        <pc:cxnChg chg="add mod">
          <ac:chgData name="Celine Audibert" userId="8796d7c5-f4bb-47e6-92d8-58fb126ac2b1" providerId="ADAL" clId="{84F9616A-BA5B-494F-9659-2EECEE2BBE7D}" dt="2025-02-20T16:15:39.810" v="947" actId="1035"/>
          <ac:cxnSpMkLst>
            <pc:docMk/>
            <pc:sldMk cId="1401601479" sldId="2739"/>
            <ac:cxnSpMk id="10" creationId="{49F2FDF8-DEDA-D98F-3DAC-5ABD85AB6DC2}"/>
          </ac:cxnSpMkLst>
        </pc:cxnChg>
        <pc:cxnChg chg="add mod">
          <ac:chgData name="Celine Audibert" userId="8796d7c5-f4bb-47e6-92d8-58fb126ac2b1" providerId="ADAL" clId="{84F9616A-BA5B-494F-9659-2EECEE2BBE7D}" dt="2025-02-20T16:15:58.664" v="957" actId="1038"/>
          <ac:cxnSpMkLst>
            <pc:docMk/>
            <pc:sldMk cId="1401601479" sldId="2739"/>
            <ac:cxnSpMk id="12" creationId="{33EACC0C-3E85-6FF6-5A29-FE0E1BA8E453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SMC%20data%20collection/Data%202024%20campaign/SMC%202024%20campaign_Data%20collated_Work%20in%20progres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5_Lome_Togo/Data%20for%20SMC%20annual%20meeting_2025%20Lome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5_Lome_Togo/Data%20for%20SMC%20annual%20meeting_2025%20Lom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5_Lome_Togo/Data%20for%20SMC%20annual%20meeting_2025%20Lome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5_Lome_Togo/Data%20for%20SMC%20annual%20meeting_2025%20Lome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mmvit-my.sharepoint.com/personal/audibertc_mmv_org/Documents/OLD-P-DRIVE/01%20-%20Chemoprevention/SMC/Annual%20meeting/2025_Lome_Togo/Data%20for%20SMC%20annual%20meeting_2025%20Lome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CH"/>
              <a:t>Average number of children covered by SMC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areaChart>
        <c:grouping val="stacked"/>
        <c:varyColors val="0"/>
        <c:ser>
          <c:idx val="2"/>
          <c:order val="0"/>
          <c:tx>
            <c:strRef>
              <c:f>Overview!$A$4</c:f>
              <c:strCache>
                <c:ptCount val="1"/>
                <c:pt idx="0">
                  <c:v>Beni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4:$N$4</c:f>
              <c:numCache>
                <c:formatCode>#,##0</c:formatCode>
                <c:ptCount val="13"/>
                <c:pt idx="7">
                  <c:v>114165</c:v>
                </c:pt>
                <c:pt idx="8">
                  <c:v>236639</c:v>
                </c:pt>
                <c:pt idx="9">
                  <c:v>374560</c:v>
                </c:pt>
                <c:pt idx="10">
                  <c:v>414523</c:v>
                </c:pt>
                <c:pt idx="11">
                  <c:v>447401</c:v>
                </c:pt>
                <c:pt idx="12">
                  <c:v>64303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92-42EA-AE8A-C152BB7DB733}"/>
            </c:ext>
          </c:extLst>
        </c:ser>
        <c:ser>
          <c:idx val="3"/>
          <c:order val="1"/>
          <c:tx>
            <c:strRef>
              <c:f>Overview!$A$5</c:f>
              <c:strCache>
                <c:ptCount val="1"/>
                <c:pt idx="0">
                  <c:v>Burkina Fas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5:$N$5</c:f>
              <c:numCache>
                <c:formatCode>#,##0</c:formatCode>
                <c:ptCount val="13"/>
                <c:pt idx="2">
                  <c:v>307770</c:v>
                </c:pt>
                <c:pt idx="3">
                  <c:v>954047</c:v>
                </c:pt>
                <c:pt idx="4">
                  <c:v>2647713</c:v>
                </c:pt>
                <c:pt idx="5">
                  <c:v>2970117</c:v>
                </c:pt>
                <c:pt idx="6">
                  <c:v>3298397</c:v>
                </c:pt>
                <c:pt idx="7">
                  <c:v>3298397</c:v>
                </c:pt>
                <c:pt idx="8">
                  <c:v>4136042</c:v>
                </c:pt>
                <c:pt idx="9">
                  <c:v>4409619</c:v>
                </c:pt>
                <c:pt idx="10">
                  <c:v>4542230</c:v>
                </c:pt>
                <c:pt idx="11">
                  <c:v>4766047</c:v>
                </c:pt>
                <c:pt idx="12">
                  <c:v>5155475.0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92-42EA-AE8A-C152BB7DB733}"/>
            </c:ext>
          </c:extLst>
        </c:ser>
        <c:ser>
          <c:idx val="5"/>
          <c:order val="2"/>
          <c:tx>
            <c:strRef>
              <c:f>Overview!$A$6</c:f>
              <c:strCache>
                <c:ptCount val="1"/>
                <c:pt idx="0">
                  <c:v>Cameroon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6:$N$6</c:f>
              <c:numCache>
                <c:formatCode>#,##0</c:formatCode>
                <c:ptCount val="13"/>
                <c:pt idx="4">
                  <c:v>1428964</c:v>
                </c:pt>
                <c:pt idx="5">
                  <c:v>1581183</c:v>
                </c:pt>
                <c:pt idx="6">
                  <c:v>1636658</c:v>
                </c:pt>
                <c:pt idx="7">
                  <c:v>1681737</c:v>
                </c:pt>
                <c:pt idx="8">
                  <c:v>1780742</c:v>
                </c:pt>
                <c:pt idx="9">
                  <c:v>1908941</c:v>
                </c:pt>
                <c:pt idx="10">
                  <c:v>2021094</c:v>
                </c:pt>
                <c:pt idx="11">
                  <c:v>2039978</c:v>
                </c:pt>
                <c:pt idx="12">
                  <c:v>2102103.7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92-42EA-AE8A-C152BB7DB733}"/>
            </c:ext>
          </c:extLst>
        </c:ser>
        <c:ser>
          <c:idx val="6"/>
          <c:order val="3"/>
          <c:tx>
            <c:strRef>
              <c:f>Overview!$A$7</c:f>
              <c:strCache>
                <c:ptCount val="1"/>
                <c:pt idx="0">
                  <c:v>Chad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7:$N$7</c:f>
              <c:numCache>
                <c:formatCode>#,##0</c:formatCode>
                <c:ptCount val="13"/>
                <c:pt idx="0">
                  <c:v>10000</c:v>
                </c:pt>
                <c:pt idx="1">
                  <c:v>263972</c:v>
                </c:pt>
                <c:pt idx="2">
                  <c:v>27307</c:v>
                </c:pt>
                <c:pt idx="3">
                  <c:v>500153</c:v>
                </c:pt>
                <c:pt idx="4">
                  <c:v>824806</c:v>
                </c:pt>
                <c:pt idx="5">
                  <c:v>998595</c:v>
                </c:pt>
                <c:pt idx="6">
                  <c:v>1184706</c:v>
                </c:pt>
                <c:pt idx="7">
                  <c:v>1627324</c:v>
                </c:pt>
                <c:pt idx="8">
                  <c:v>2259852</c:v>
                </c:pt>
                <c:pt idx="9">
                  <c:v>2512920</c:v>
                </c:pt>
                <c:pt idx="10">
                  <c:v>2664662</c:v>
                </c:pt>
                <c:pt idx="11">
                  <c:v>2786338</c:v>
                </c:pt>
                <c:pt idx="12">
                  <c:v>3054020.15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92-42EA-AE8A-C152BB7DB733}"/>
            </c:ext>
          </c:extLst>
        </c:ser>
        <c:ser>
          <c:idx val="7"/>
          <c:order val="4"/>
          <c:tx>
            <c:strRef>
              <c:f>Overview!$A$8</c:f>
              <c:strCache>
                <c:ptCount val="1"/>
                <c:pt idx="0">
                  <c:v>Côte d'Ivoire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8:$N$8</c:f>
              <c:numCache>
                <c:formatCode>#,##0</c:formatCode>
                <c:ptCount val="13"/>
                <c:pt idx="11">
                  <c:v>39652</c:v>
                </c:pt>
                <c:pt idx="12">
                  <c:v>52506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492-42EA-AE8A-C152BB7DB733}"/>
            </c:ext>
          </c:extLst>
        </c:ser>
        <c:ser>
          <c:idx val="8"/>
          <c:order val="5"/>
          <c:tx>
            <c:strRef>
              <c:f>Overview!$A$9</c:f>
              <c:strCache>
                <c:ptCount val="1"/>
                <c:pt idx="0">
                  <c:v>Gambia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9:$N$9</c:f>
              <c:numCache>
                <c:formatCode>#,##0</c:formatCode>
                <c:ptCount val="13"/>
                <c:pt idx="2">
                  <c:v>65271</c:v>
                </c:pt>
                <c:pt idx="3">
                  <c:v>76450</c:v>
                </c:pt>
                <c:pt idx="4">
                  <c:v>73710</c:v>
                </c:pt>
                <c:pt idx="5">
                  <c:v>76601</c:v>
                </c:pt>
                <c:pt idx="6">
                  <c:v>112841</c:v>
                </c:pt>
                <c:pt idx="7">
                  <c:v>110870</c:v>
                </c:pt>
                <c:pt idx="8">
                  <c:v>121834</c:v>
                </c:pt>
                <c:pt idx="9">
                  <c:v>76045</c:v>
                </c:pt>
                <c:pt idx="10">
                  <c:v>79205</c:v>
                </c:pt>
                <c:pt idx="11">
                  <c:v>84051</c:v>
                </c:pt>
                <c:pt idx="12">
                  <c:v>7895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492-42EA-AE8A-C152BB7DB733}"/>
            </c:ext>
          </c:extLst>
        </c:ser>
        <c:ser>
          <c:idx val="9"/>
          <c:order val="6"/>
          <c:tx>
            <c:strRef>
              <c:f>Overview!$A$10</c:f>
              <c:strCache>
                <c:ptCount val="1"/>
                <c:pt idx="0">
                  <c:v>Ghana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0:$N$10</c:f>
              <c:numCache>
                <c:formatCode>#,##0</c:formatCode>
                <c:ptCount val="13"/>
                <c:pt idx="3">
                  <c:v>115309</c:v>
                </c:pt>
                <c:pt idx="4">
                  <c:v>303019</c:v>
                </c:pt>
                <c:pt idx="5">
                  <c:v>327446</c:v>
                </c:pt>
                <c:pt idx="6">
                  <c:v>329953</c:v>
                </c:pt>
                <c:pt idx="7">
                  <c:v>964956</c:v>
                </c:pt>
                <c:pt idx="8">
                  <c:v>1033812</c:v>
                </c:pt>
                <c:pt idx="9">
                  <c:v>1322251</c:v>
                </c:pt>
                <c:pt idx="10">
                  <c:v>1382709</c:v>
                </c:pt>
                <c:pt idx="11">
                  <c:v>1435474</c:v>
                </c:pt>
                <c:pt idx="12">
                  <c:v>15412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492-42EA-AE8A-C152BB7DB733}"/>
            </c:ext>
          </c:extLst>
        </c:ser>
        <c:ser>
          <c:idx val="10"/>
          <c:order val="7"/>
          <c:tx>
            <c:strRef>
              <c:f>Overview!$A$11</c:f>
              <c:strCache>
                <c:ptCount val="1"/>
                <c:pt idx="0">
                  <c:v>Guinea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1:$N$11</c:f>
              <c:numCache>
                <c:formatCode>#,##0</c:formatCode>
                <c:ptCount val="13"/>
                <c:pt idx="3">
                  <c:v>201283</c:v>
                </c:pt>
                <c:pt idx="4">
                  <c:v>442177</c:v>
                </c:pt>
                <c:pt idx="5">
                  <c:v>575927</c:v>
                </c:pt>
                <c:pt idx="6">
                  <c:v>840120</c:v>
                </c:pt>
                <c:pt idx="7">
                  <c:v>841090</c:v>
                </c:pt>
                <c:pt idx="8">
                  <c:v>1088194</c:v>
                </c:pt>
                <c:pt idx="9">
                  <c:v>1122434</c:v>
                </c:pt>
                <c:pt idx="10">
                  <c:v>1163812</c:v>
                </c:pt>
                <c:pt idx="11">
                  <c:v>1196584</c:v>
                </c:pt>
                <c:pt idx="12">
                  <c:v>1312115.6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492-42EA-AE8A-C152BB7DB733}"/>
            </c:ext>
          </c:extLst>
        </c:ser>
        <c:ser>
          <c:idx val="11"/>
          <c:order val="8"/>
          <c:tx>
            <c:strRef>
              <c:f>Overview!$A$12</c:f>
              <c:strCache>
                <c:ptCount val="1"/>
                <c:pt idx="0">
                  <c:v>Guinea Bissau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2:$N$12</c:f>
              <c:numCache>
                <c:formatCode>#,##0</c:formatCode>
                <c:ptCount val="13"/>
                <c:pt idx="4">
                  <c:v>42097</c:v>
                </c:pt>
                <c:pt idx="5">
                  <c:v>166162</c:v>
                </c:pt>
                <c:pt idx="6">
                  <c:v>42571</c:v>
                </c:pt>
                <c:pt idx="7">
                  <c:v>86107</c:v>
                </c:pt>
                <c:pt idx="8">
                  <c:v>86107</c:v>
                </c:pt>
                <c:pt idx="9">
                  <c:v>108394</c:v>
                </c:pt>
                <c:pt idx="10">
                  <c:v>113002</c:v>
                </c:pt>
                <c:pt idx="11">
                  <c:v>116031</c:v>
                </c:pt>
                <c:pt idx="12">
                  <c:v>21825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492-42EA-AE8A-C152BB7DB733}"/>
            </c:ext>
          </c:extLst>
        </c:ser>
        <c:ser>
          <c:idx val="12"/>
          <c:order val="9"/>
          <c:tx>
            <c:strRef>
              <c:f>Overview!$A$13</c:f>
              <c:strCache>
                <c:ptCount val="1"/>
                <c:pt idx="0">
                  <c:v>Kenya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 w="25400"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3:$N$13</c:f>
              <c:numCache>
                <c:formatCode>#,##0</c:formatCode>
                <c:ptCount val="13"/>
                <c:pt idx="12">
                  <c:v>37767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492-42EA-AE8A-C152BB7DB733}"/>
            </c:ext>
          </c:extLst>
        </c:ser>
        <c:ser>
          <c:idx val="13"/>
          <c:order val="10"/>
          <c:tx>
            <c:strRef>
              <c:f>Overview!$A$14</c:f>
              <c:strCache>
                <c:ptCount val="1"/>
                <c:pt idx="0">
                  <c:v>Mali</c:v>
                </c:pt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4:$N$14</c:f>
              <c:numCache>
                <c:formatCode>#,##0</c:formatCode>
                <c:ptCount val="13"/>
                <c:pt idx="0">
                  <c:v>160000</c:v>
                </c:pt>
                <c:pt idx="1">
                  <c:v>537294</c:v>
                </c:pt>
                <c:pt idx="2">
                  <c:v>524742</c:v>
                </c:pt>
                <c:pt idx="3">
                  <c:v>1999987</c:v>
                </c:pt>
                <c:pt idx="4">
                  <c:v>3980684</c:v>
                </c:pt>
                <c:pt idx="5">
                  <c:v>3990096</c:v>
                </c:pt>
                <c:pt idx="6">
                  <c:v>4299242</c:v>
                </c:pt>
                <c:pt idx="7">
                  <c:v>3767820</c:v>
                </c:pt>
                <c:pt idx="8">
                  <c:v>3767099</c:v>
                </c:pt>
                <c:pt idx="9">
                  <c:v>3357846</c:v>
                </c:pt>
                <c:pt idx="10">
                  <c:v>3838060</c:v>
                </c:pt>
                <c:pt idx="11">
                  <c:v>3808664</c:v>
                </c:pt>
                <c:pt idx="12">
                  <c:v>4359409.6833333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92-42EA-AE8A-C152BB7DB733}"/>
            </c:ext>
          </c:extLst>
        </c:ser>
        <c:ser>
          <c:idx val="14"/>
          <c:order val="11"/>
          <c:tx>
            <c:strRef>
              <c:f>Overview!$A$15</c:f>
              <c:strCache>
                <c:ptCount val="1"/>
                <c:pt idx="0">
                  <c:v>Mauritania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5:$N$15</c:f>
              <c:numCache>
                <c:formatCode>#,##0</c:formatCode>
                <c:ptCount val="13"/>
                <c:pt idx="10">
                  <c:v>57574</c:v>
                </c:pt>
                <c:pt idx="11">
                  <c:v>90582</c:v>
                </c:pt>
                <c:pt idx="12">
                  <c:v>103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492-42EA-AE8A-C152BB7DB733}"/>
            </c:ext>
          </c:extLst>
        </c:ser>
        <c:ser>
          <c:idx val="15"/>
          <c:order val="12"/>
          <c:tx>
            <c:strRef>
              <c:f>Overview!$A$16</c:f>
              <c:strCache>
                <c:ptCount val="1"/>
                <c:pt idx="0">
                  <c:v>Mozambiqu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6:$N$16</c:f>
              <c:numCache>
                <c:formatCode>#,##0</c:formatCode>
                <c:ptCount val="13"/>
                <c:pt idx="9">
                  <c:v>119254</c:v>
                </c:pt>
                <c:pt idx="10">
                  <c:v>1299671</c:v>
                </c:pt>
                <c:pt idx="11">
                  <c:v>1319628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492-42EA-AE8A-C152BB7DB733}"/>
            </c:ext>
          </c:extLst>
        </c:ser>
        <c:ser>
          <c:idx val="16"/>
          <c:order val="13"/>
          <c:tx>
            <c:strRef>
              <c:f>Overview!$A$17</c:f>
              <c:strCache>
                <c:ptCount val="1"/>
                <c:pt idx="0">
                  <c:v>Niger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7:$N$17</c:f>
              <c:numCache>
                <c:formatCode>#,##0</c:formatCode>
                <c:ptCount val="13"/>
                <c:pt idx="1">
                  <c:v>225970</c:v>
                </c:pt>
                <c:pt idx="2">
                  <c:v>528681</c:v>
                </c:pt>
                <c:pt idx="3">
                  <c:v>624121</c:v>
                </c:pt>
                <c:pt idx="4">
                  <c:v>2361924</c:v>
                </c:pt>
                <c:pt idx="5">
                  <c:v>2545885</c:v>
                </c:pt>
                <c:pt idx="6">
                  <c:v>3952400</c:v>
                </c:pt>
                <c:pt idx="7">
                  <c:v>4151103</c:v>
                </c:pt>
                <c:pt idx="8">
                  <c:v>4516729</c:v>
                </c:pt>
                <c:pt idx="9">
                  <c:v>4457575</c:v>
                </c:pt>
                <c:pt idx="10">
                  <c:v>4686792</c:v>
                </c:pt>
                <c:pt idx="11">
                  <c:v>4745805.2</c:v>
                </c:pt>
                <c:pt idx="12">
                  <c:v>5096146.36666666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1492-42EA-AE8A-C152BB7DB733}"/>
            </c:ext>
          </c:extLst>
        </c:ser>
        <c:ser>
          <c:idx val="17"/>
          <c:order val="14"/>
          <c:tx>
            <c:strRef>
              <c:f>Overview!$A$18</c:f>
              <c:strCache>
                <c:ptCount val="1"/>
                <c:pt idx="0">
                  <c:v>Nigeria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8:$N$18</c:f>
              <c:numCache>
                <c:formatCode>#,##0</c:formatCode>
                <c:ptCount val="13"/>
                <c:pt idx="1">
                  <c:v>209451</c:v>
                </c:pt>
                <c:pt idx="2">
                  <c:v>370280</c:v>
                </c:pt>
                <c:pt idx="3">
                  <c:v>787399</c:v>
                </c:pt>
                <c:pt idx="4">
                  <c:v>1696770</c:v>
                </c:pt>
                <c:pt idx="5">
                  <c:v>3538757</c:v>
                </c:pt>
                <c:pt idx="6">
                  <c:v>3508924</c:v>
                </c:pt>
                <c:pt idx="7">
                  <c:v>4191166</c:v>
                </c:pt>
                <c:pt idx="8">
                  <c:v>13236139</c:v>
                </c:pt>
                <c:pt idx="9">
                  <c:v>23922101</c:v>
                </c:pt>
                <c:pt idx="10">
                  <c:v>25571387</c:v>
                </c:pt>
                <c:pt idx="11">
                  <c:v>28612432.849999998</c:v>
                </c:pt>
                <c:pt idx="12">
                  <c:v>28513827.14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492-42EA-AE8A-C152BB7DB733}"/>
            </c:ext>
          </c:extLst>
        </c:ser>
        <c:ser>
          <c:idx val="4"/>
          <c:order val="15"/>
          <c:tx>
            <c:strRef>
              <c:f>Overview!$A$19</c:f>
              <c:strCache>
                <c:ptCount val="1"/>
                <c:pt idx="0">
                  <c:v>Senegal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19:$N$19</c:f>
              <c:numCache>
                <c:formatCode>#,##0</c:formatCode>
                <c:ptCount val="13"/>
                <c:pt idx="1">
                  <c:v>55709</c:v>
                </c:pt>
                <c:pt idx="2">
                  <c:v>595745</c:v>
                </c:pt>
                <c:pt idx="3">
                  <c:v>614581</c:v>
                </c:pt>
                <c:pt idx="4">
                  <c:v>621503</c:v>
                </c:pt>
                <c:pt idx="5">
                  <c:v>631897</c:v>
                </c:pt>
                <c:pt idx="7">
                  <c:v>879652</c:v>
                </c:pt>
                <c:pt idx="8">
                  <c:v>687959</c:v>
                </c:pt>
                <c:pt idx="9">
                  <c:v>748116</c:v>
                </c:pt>
                <c:pt idx="10">
                  <c:v>801729</c:v>
                </c:pt>
                <c:pt idx="11">
                  <c:v>839886</c:v>
                </c:pt>
                <c:pt idx="12">
                  <c:v>800234.61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1492-42EA-AE8A-C152BB7DB733}"/>
            </c:ext>
          </c:extLst>
        </c:ser>
        <c:ser>
          <c:idx val="18"/>
          <c:order val="16"/>
          <c:tx>
            <c:strRef>
              <c:f>Overview!$A$20</c:f>
              <c:strCache>
                <c:ptCount val="1"/>
                <c:pt idx="0">
                  <c:v>South Sudan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20:$N$20</c:f>
              <c:numCache>
                <c:formatCode>#,##0</c:formatCode>
                <c:ptCount val="13"/>
                <c:pt idx="10">
                  <c:v>18000</c:v>
                </c:pt>
                <c:pt idx="11">
                  <c:v>69596</c:v>
                </c:pt>
                <c:pt idx="12">
                  <c:v>76275.3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492-42EA-AE8A-C152BB7DB733}"/>
            </c:ext>
          </c:extLst>
        </c:ser>
        <c:ser>
          <c:idx val="0"/>
          <c:order val="17"/>
          <c:tx>
            <c:strRef>
              <c:f>Overview!$A$21</c:f>
              <c:strCache>
                <c:ptCount val="1"/>
                <c:pt idx="0">
                  <c:v>Togo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21:$N$21</c:f>
              <c:numCache>
                <c:formatCode>#,##0</c:formatCode>
                <c:ptCount val="13"/>
                <c:pt idx="1">
                  <c:v>119222</c:v>
                </c:pt>
                <c:pt idx="2">
                  <c:v>170165</c:v>
                </c:pt>
                <c:pt idx="4">
                  <c:v>411811</c:v>
                </c:pt>
                <c:pt idx="5">
                  <c:v>420451</c:v>
                </c:pt>
                <c:pt idx="6">
                  <c:v>434161</c:v>
                </c:pt>
                <c:pt idx="7">
                  <c:v>453907</c:v>
                </c:pt>
                <c:pt idx="8">
                  <c:v>486716</c:v>
                </c:pt>
                <c:pt idx="9">
                  <c:v>475997</c:v>
                </c:pt>
                <c:pt idx="10">
                  <c:v>519141</c:v>
                </c:pt>
                <c:pt idx="11">
                  <c:v>453404</c:v>
                </c:pt>
                <c:pt idx="12">
                  <c:v>565702.3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1492-42EA-AE8A-C152BB7DB733}"/>
            </c:ext>
          </c:extLst>
        </c:ser>
        <c:ser>
          <c:idx val="19"/>
          <c:order val="18"/>
          <c:tx>
            <c:strRef>
              <c:f>Overview!$A$22</c:f>
              <c:strCache>
                <c:ptCount val="1"/>
                <c:pt idx="0">
                  <c:v>Uganda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cat>
            <c:strRef>
              <c:f>Overview!$B$3:$N$3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22:$N$22</c:f>
              <c:numCache>
                <c:formatCode>#,##0</c:formatCode>
                <c:ptCount val="13"/>
                <c:pt idx="9">
                  <c:v>81899</c:v>
                </c:pt>
                <c:pt idx="10">
                  <c:v>212158</c:v>
                </c:pt>
                <c:pt idx="11">
                  <c:v>263016</c:v>
                </c:pt>
                <c:pt idx="12">
                  <c:v>276153.4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492-42EA-AE8A-C152BB7DB7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3962559"/>
        <c:axId val="33964223"/>
        <c:extLst/>
      </c:areaChart>
      <c:catAx>
        <c:axId val="33962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33964223"/>
        <c:crosses val="autoZero"/>
        <c:auto val="1"/>
        <c:lblAlgn val="ctr"/>
        <c:lblOffset val="100"/>
        <c:noMultiLvlLbl val="0"/>
      </c:catAx>
      <c:valAx>
        <c:axId val="33964223"/>
        <c:scaling>
          <c:orientation val="minMax"/>
          <c:max val="60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33962559"/>
        <c:crosses val="autoZero"/>
        <c:crossBetween val="midCat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9168606738372758"/>
          <c:y val="4.6142804064290492E-2"/>
          <c:w val="9.9440819186326176E-2"/>
          <c:h val="0.90797534516900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treatments delivered per yea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lineChart>
        <c:grouping val="standard"/>
        <c:varyColors val="0"/>
        <c:ser>
          <c:idx val="20"/>
          <c:order val="19"/>
          <c:tx>
            <c:strRef>
              <c:f>Overview!$A$60</c:f>
              <c:strCache>
                <c:ptCount val="1"/>
                <c:pt idx="0">
                  <c:v>Grand Total</c:v>
                </c:pt>
              </c:strCache>
            </c:strRef>
          </c:tx>
          <c:spPr>
            <a:ln w="28575" cap="rnd">
              <a:solidFill>
                <a:schemeClr val="accent3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Overview!$B$40:$N$40</c:f>
              <c:strCache>
                <c:ptCount val="13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  <c:pt idx="12">
                  <c:v>2024*</c:v>
                </c:pt>
              </c:strCache>
            </c:strRef>
          </c:cat>
          <c:val>
            <c:numRef>
              <c:f>Overview!$B$60:$N$60</c:f>
              <c:numCache>
                <c:formatCode>#,##0</c:formatCode>
                <c:ptCount val="13"/>
                <c:pt idx="0">
                  <c:v>680000</c:v>
                </c:pt>
                <c:pt idx="1">
                  <c:v>5646472</c:v>
                </c:pt>
                <c:pt idx="2">
                  <c:v>9486374</c:v>
                </c:pt>
                <c:pt idx="3">
                  <c:v>22760427</c:v>
                </c:pt>
                <c:pt idx="4">
                  <c:v>53832339</c:v>
                </c:pt>
                <c:pt idx="5">
                  <c:v>65281452</c:v>
                </c:pt>
                <c:pt idx="6">
                  <c:v>77238217</c:v>
                </c:pt>
                <c:pt idx="7">
                  <c:v>86271405</c:v>
                </c:pt>
                <c:pt idx="8">
                  <c:v>132905410</c:v>
                </c:pt>
                <c:pt idx="9">
                  <c:v>179775402</c:v>
                </c:pt>
                <c:pt idx="10">
                  <c:v>203814970</c:v>
                </c:pt>
                <c:pt idx="11">
                  <c:v>220569255</c:v>
                </c:pt>
                <c:pt idx="12">
                  <c:v>2266016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89-43F6-8FDA-209A13DE8E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39543856"/>
        <c:axId val="1139526576"/>
        <c:extLst>
          <c:ext xmlns:c15="http://schemas.microsoft.com/office/drawing/2012/chart" uri="{02D57815-91ED-43cb-92C2-25804820EDAC}">
            <c15:filteredLineSeries>
              <c15:ser>
                <c:idx val="1"/>
                <c:order val="0"/>
                <c:tx>
                  <c:strRef>
                    <c:extLst>
                      <c:ext uri="{02D57815-91ED-43cb-92C2-25804820EDAC}">
                        <c15:formulaRef>
                          <c15:sqref>Overview!$A$41</c15:sqref>
                        </c15:formulaRef>
                      </c:ext>
                    </c:extLst>
                    <c:strCache>
                      <c:ptCount val="1"/>
                      <c:pt idx="0">
                        <c:v>Benin</c:v>
                      </c:pt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Overview!$B$41:$N$41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7" formatCode="#,##0">
                        <c:v>456661</c:v>
                      </c:pt>
                      <c:pt idx="8" formatCode="#,##0">
                        <c:v>856491</c:v>
                      </c:pt>
                      <c:pt idx="9" formatCode="#,##0">
                        <c:v>1498240</c:v>
                      </c:pt>
                      <c:pt idx="10" formatCode="#,##0">
                        <c:v>1658092</c:v>
                      </c:pt>
                      <c:pt idx="11" formatCode="#,##0">
                        <c:v>1789602</c:v>
                      </c:pt>
                      <c:pt idx="12" formatCode="#,##0">
                        <c:v>2768339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7189-43F6-8FDA-209A13DE8E85}"/>
                  </c:ext>
                </c:extLst>
              </c15:ser>
            </c15:filteredLineSeries>
            <c15:filteredLineSeries>
              <c15:ser>
                <c:idx val="2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2</c15:sqref>
                        </c15:formulaRef>
                      </c:ext>
                    </c:extLst>
                    <c:strCache>
                      <c:ptCount val="1"/>
                      <c:pt idx="0">
                        <c:v>Burkina Faso</c:v>
                      </c:pt>
                    </c:strCache>
                  </c:strRef>
                </c:tx>
                <c:spPr>
                  <a:ln w="28575" cap="rnd">
                    <a:solidFill>
                      <a:schemeClr val="accent3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2:$N$42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2" formatCode="#,##0">
                        <c:v>1231081</c:v>
                      </c:pt>
                      <c:pt idx="3" formatCode="#,##0">
                        <c:v>3816187</c:v>
                      </c:pt>
                      <c:pt idx="4" formatCode="#,##0">
                        <c:v>10590851</c:v>
                      </c:pt>
                      <c:pt idx="5" formatCode="#,##0">
                        <c:v>11799603</c:v>
                      </c:pt>
                      <c:pt idx="6" formatCode="#,##0">
                        <c:v>13193588</c:v>
                      </c:pt>
                      <c:pt idx="7" formatCode="#,##0">
                        <c:v>13193588</c:v>
                      </c:pt>
                      <c:pt idx="8" formatCode="#,##0">
                        <c:v>16544168</c:v>
                      </c:pt>
                      <c:pt idx="9" formatCode="#,##0">
                        <c:v>18603883</c:v>
                      </c:pt>
                      <c:pt idx="10" formatCode="#,##0">
                        <c:v>19174212</c:v>
                      </c:pt>
                      <c:pt idx="11" formatCode="#,##0">
                        <c:v>20088248</c:v>
                      </c:pt>
                      <c:pt idx="12" formatCode="#,##0">
                        <c:v>21899633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7189-43F6-8FDA-209A13DE8E85}"/>
                  </c:ext>
                </c:extLst>
              </c15:ser>
            </c15:filteredLineSeries>
            <c15:filteredLineSeries>
              <c15:ser>
                <c:idx val="3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3</c15:sqref>
                        </c15:formulaRef>
                      </c:ext>
                    </c:extLst>
                    <c:strCache>
                      <c:ptCount val="1"/>
                      <c:pt idx="0">
                        <c:v>Cameroon</c:v>
                      </c:pt>
                    </c:strCache>
                  </c:strRef>
                </c:tx>
                <c:spPr>
                  <a:ln w="28575" cap="rnd">
                    <a:solidFill>
                      <a:schemeClr val="accent4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3:$N$43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4" formatCode="#,##0">
                        <c:v>4286893</c:v>
                      </c:pt>
                      <c:pt idx="5" formatCode="#,##0">
                        <c:v>6324731</c:v>
                      </c:pt>
                      <c:pt idx="6" formatCode="#,##0">
                        <c:v>6546632</c:v>
                      </c:pt>
                      <c:pt idx="7" formatCode="#,##0">
                        <c:v>6726947</c:v>
                      </c:pt>
                      <c:pt idx="8" formatCode="#,##0">
                        <c:v>7122967</c:v>
                      </c:pt>
                      <c:pt idx="9" formatCode="#,##0">
                        <c:v>7635762</c:v>
                      </c:pt>
                      <c:pt idx="10" formatCode="#,##0">
                        <c:v>8611913</c:v>
                      </c:pt>
                      <c:pt idx="11" formatCode="#,##0">
                        <c:v>8810953</c:v>
                      </c:pt>
                      <c:pt idx="12" formatCode="#,##0">
                        <c:v>9067318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7189-43F6-8FDA-209A13DE8E85}"/>
                  </c:ext>
                </c:extLst>
              </c15:ser>
            </c15:filteredLineSeries>
            <c15:filteredLineSeries>
              <c15:ser>
                <c:idx val="4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4</c15:sqref>
                        </c15:formulaRef>
                      </c:ext>
                    </c:extLst>
                    <c:strCache>
                      <c:ptCount val="1"/>
                      <c:pt idx="0">
                        <c:v>Chad</c:v>
                      </c:pt>
                    </c:strCache>
                  </c:strRef>
                </c:tx>
                <c:spPr>
                  <a:ln w="28575" cap="rnd">
                    <a:solidFill>
                      <a:schemeClr val="accent5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4:$N$44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0">
                        <c:v>40000</c:v>
                      </c:pt>
                      <c:pt idx="1">
                        <c:v>1055888</c:v>
                      </c:pt>
                      <c:pt idx="2">
                        <c:v>109226</c:v>
                      </c:pt>
                      <c:pt idx="3">
                        <c:v>1850623</c:v>
                      </c:pt>
                      <c:pt idx="4">
                        <c:v>3299222</c:v>
                      </c:pt>
                      <c:pt idx="5">
                        <c:v>3658346</c:v>
                      </c:pt>
                      <c:pt idx="6">
                        <c:v>4738823</c:v>
                      </c:pt>
                      <c:pt idx="7">
                        <c:v>5935118</c:v>
                      </c:pt>
                      <c:pt idx="8">
                        <c:v>9039408</c:v>
                      </c:pt>
                      <c:pt idx="9">
                        <c:v>10142392</c:v>
                      </c:pt>
                      <c:pt idx="10">
                        <c:v>10772891</c:v>
                      </c:pt>
                      <c:pt idx="11">
                        <c:v>11145353</c:v>
                      </c:pt>
                      <c:pt idx="12">
                        <c:v>1236313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7189-43F6-8FDA-209A13DE8E85}"/>
                  </c:ext>
                </c:extLst>
              </c15:ser>
            </c15:filteredLineSeries>
            <c15:filteredLineSeries>
              <c15:ser>
                <c:idx val="5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5</c15:sqref>
                        </c15:formulaRef>
                      </c:ext>
                    </c:extLst>
                    <c:strCache>
                      <c:ptCount val="1"/>
                      <c:pt idx="0">
                        <c:v>Côte d'Ivoire</c:v>
                      </c:pt>
                    </c:strCache>
                  </c:strRef>
                </c:tx>
                <c:spPr>
                  <a:ln w="28575" cap="rnd">
                    <a:solidFill>
                      <a:schemeClr val="accent6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5:$N$45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11" formatCode="#,##0">
                        <c:v>79303</c:v>
                      </c:pt>
                      <c:pt idx="12" formatCode="#,##0">
                        <c:v>21002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7189-43F6-8FDA-209A13DE8E85}"/>
                  </c:ext>
                </c:extLst>
              </c15:ser>
            </c15:filteredLineSeries>
            <c15:filteredLineSeries>
              <c15:ser>
                <c:idx val="6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6</c15:sqref>
                        </c15:formulaRef>
                      </c:ext>
                    </c:extLst>
                    <c:strCache>
                      <c:ptCount val="1"/>
                      <c:pt idx="0">
                        <c:v>Gamb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6:$N$46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2" formatCode="#,##0">
                        <c:v>195812</c:v>
                      </c:pt>
                      <c:pt idx="3" formatCode="#,##0">
                        <c:v>305800</c:v>
                      </c:pt>
                      <c:pt idx="4" formatCode="#,##0">
                        <c:v>294839</c:v>
                      </c:pt>
                      <c:pt idx="5" formatCode="#,##0">
                        <c:v>306405</c:v>
                      </c:pt>
                      <c:pt idx="6" formatCode="#,##0">
                        <c:v>406044</c:v>
                      </c:pt>
                      <c:pt idx="7" formatCode="#,##0">
                        <c:v>443478</c:v>
                      </c:pt>
                      <c:pt idx="8" formatCode="#,##0">
                        <c:v>487334</c:v>
                      </c:pt>
                      <c:pt idx="9" formatCode="#,##0">
                        <c:v>304180</c:v>
                      </c:pt>
                      <c:pt idx="10" formatCode="#,##0">
                        <c:v>316821</c:v>
                      </c:pt>
                      <c:pt idx="11" formatCode="#,##0">
                        <c:v>336204</c:v>
                      </c:pt>
                      <c:pt idx="12" formatCode="#,##0">
                        <c:v>31580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7189-43F6-8FDA-209A13DE8E85}"/>
                  </c:ext>
                </c:extLst>
              </c15:ser>
            </c15:filteredLineSeries>
            <c15:filteredLineSeries>
              <c15:ser>
                <c:idx val="7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7</c15:sqref>
                        </c15:formulaRef>
                      </c:ext>
                    </c:extLst>
                    <c:strCache>
                      <c:ptCount val="1"/>
                      <c:pt idx="0">
                        <c:v>Ghana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7:$N$47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3" formatCode="#,##0">
                        <c:v>461236</c:v>
                      </c:pt>
                      <c:pt idx="4" formatCode="#,##0">
                        <c:v>606037</c:v>
                      </c:pt>
                      <c:pt idx="5" formatCode="#,##0">
                        <c:v>1309782</c:v>
                      </c:pt>
                      <c:pt idx="6" formatCode="#,##0">
                        <c:v>1319813</c:v>
                      </c:pt>
                      <c:pt idx="7" formatCode="#,##0">
                        <c:v>3859822</c:v>
                      </c:pt>
                      <c:pt idx="8" formatCode="#,##0">
                        <c:v>4135249</c:v>
                      </c:pt>
                      <c:pt idx="9" formatCode="#,##0">
                        <c:v>4803223</c:v>
                      </c:pt>
                      <c:pt idx="10" formatCode="#,##0">
                        <c:v>5530837</c:v>
                      </c:pt>
                      <c:pt idx="11" formatCode="#,##0">
                        <c:v>5741895</c:v>
                      </c:pt>
                      <c:pt idx="12" formatCode="#,##0">
                        <c:v>770605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7189-43F6-8FDA-209A13DE8E85}"/>
                  </c:ext>
                </c:extLst>
              </c15:ser>
            </c15:filteredLineSeries>
            <c15:filteredLineSeries>
              <c15:ser>
                <c:idx val="8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8</c15:sqref>
                        </c15:formulaRef>
                      </c:ext>
                    </c:extLst>
                    <c:strCache>
                      <c:ptCount val="1"/>
                      <c:pt idx="0">
                        <c:v>Guinea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8:$N$48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3" formatCode="#,##0">
                        <c:v>805131</c:v>
                      </c:pt>
                      <c:pt idx="4" formatCode="#,##0">
                        <c:v>1768708</c:v>
                      </c:pt>
                      <c:pt idx="5" formatCode="#,##0">
                        <c:v>2303709</c:v>
                      </c:pt>
                      <c:pt idx="6" formatCode="#,##0">
                        <c:v>3360479</c:v>
                      </c:pt>
                      <c:pt idx="7" formatCode="#,##0">
                        <c:v>3003612</c:v>
                      </c:pt>
                      <c:pt idx="8" formatCode="#,##0">
                        <c:v>4352774</c:v>
                      </c:pt>
                      <c:pt idx="9" formatCode="#,##0">
                        <c:v>4533292</c:v>
                      </c:pt>
                      <c:pt idx="10" formatCode="#,##0">
                        <c:v>4703712</c:v>
                      </c:pt>
                      <c:pt idx="11" formatCode="#,##0">
                        <c:v>4836861</c:v>
                      </c:pt>
                      <c:pt idx="12" formatCode="#,##0">
                        <c:v>5299045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7189-43F6-8FDA-209A13DE8E85}"/>
                  </c:ext>
                </c:extLst>
              </c15:ser>
            </c15:filteredLineSeries>
            <c15:filteredLineSeries>
              <c15:ser>
                <c:idx val="9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49</c15:sqref>
                        </c15:formulaRef>
                      </c:ext>
                    </c:extLst>
                    <c:strCache>
                      <c:ptCount val="1"/>
                      <c:pt idx="0">
                        <c:v>Guinea Bissau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9:$N$49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4" formatCode="#,##0">
                        <c:v>146718</c:v>
                      </c:pt>
                      <c:pt idx="5" formatCode="#,##0">
                        <c:v>664647</c:v>
                      </c:pt>
                      <c:pt idx="6" formatCode="#,##0">
                        <c:v>170284</c:v>
                      </c:pt>
                      <c:pt idx="7" formatCode="#,##0">
                        <c:v>344429</c:v>
                      </c:pt>
                      <c:pt idx="8" formatCode="#,##0">
                        <c:v>344429</c:v>
                      </c:pt>
                      <c:pt idx="9" formatCode="#,##0">
                        <c:v>433574</c:v>
                      </c:pt>
                      <c:pt idx="10" formatCode="#,##0">
                        <c:v>452008</c:v>
                      </c:pt>
                      <c:pt idx="11" formatCode="#,##0">
                        <c:v>464123</c:v>
                      </c:pt>
                      <c:pt idx="12" formatCode="#,##0">
                        <c:v>87300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7189-43F6-8FDA-209A13DE8E85}"/>
                  </c:ext>
                </c:extLst>
              </c15:ser>
            </c15:filteredLineSeries>
            <c15:filteredLineSeries>
              <c15:ser>
                <c:idx val="10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0</c15:sqref>
                        </c15:formulaRef>
                      </c:ext>
                    </c:extLst>
                    <c:strCache>
                      <c:ptCount val="1"/>
                      <c:pt idx="0">
                        <c:v>Kenya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0:$N$50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12" formatCode="#,##0">
                        <c:v>18883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7189-43F6-8FDA-209A13DE8E85}"/>
                  </c:ext>
                </c:extLst>
              </c15:ser>
            </c15:filteredLineSeries>
            <c15:filteredLineSeries>
              <c15:ser>
                <c:idx val="11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1</c15:sqref>
                        </c15:formulaRef>
                      </c:ext>
                    </c:extLst>
                    <c:strCache>
                      <c:ptCount val="1"/>
                      <c:pt idx="0">
                        <c:v>Mali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6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1:$N$51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0">
                        <c:v>640000</c:v>
                      </c:pt>
                      <c:pt idx="1">
                        <c:v>2149176</c:v>
                      </c:pt>
                      <c:pt idx="2">
                        <c:v>2098969</c:v>
                      </c:pt>
                      <c:pt idx="3">
                        <c:v>7999948</c:v>
                      </c:pt>
                      <c:pt idx="4">
                        <c:v>15398687</c:v>
                      </c:pt>
                      <c:pt idx="5">
                        <c:v>15960382</c:v>
                      </c:pt>
                      <c:pt idx="6">
                        <c:v>17113605</c:v>
                      </c:pt>
                      <c:pt idx="7">
                        <c:v>15068821</c:v>
                      </c:pt>
                      <c:pt idx="8">
                        <c:v>14956952</c:v>
                      </c:pt>
                      <c:pt idx="9">
                        <c:v>12906775</c:v>
                      </c:pt>
                      <c:pt idx="10">
                        <c:v>15016899</c:v>
                      </c:pt>
                      <c:pt idx="11">
                        <c:v>15034772</c:v>
                      </c:pt>
                      <c:pt idx="12">
                        <c:v>1711197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7189-43F6-8FDA-209A13DE8E85}"/>
                  </c:ext>
                </c:extLst>
              </c15:ser>
            </c15:filteredLineSeries>
            <c15:filteredLineSeries>
              <c15:ser>
                <c:idx val="12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2</c15:sqref>
                        </c15:formulaRef>
                      </c:ext>
                    </c:extLst>
                    <c:strCache>
                      <c:ptCount val="1"/>
                      <c:pt idx="0">
                        <c:v>Mauritania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2:$N$52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10" formatCode="#,##0">
                        <c:v>230297</c:v>
                      </c:pt>
                      <c:pt idx="11" formatCode="#,##0">
                        <c:v>271747</c:v>
                      </c:pt>
                      <c:pt idx="12" formatCode="#,##0">
                        <c:v>27174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7189-43F6-8FDA-209A13DE8E85}"/>
                  </c:ext>
                </c:extLst>
              </c15:ser>
            </c15:filteredLineSeries>
            <c15:filteredLineSeries>
              <c15:ser>
                <c:idx val="13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3</c15:sqref>
                        </c15:formulaRef>
                      </c:ext>
                    </c:extLst>
                    <c:strCache>
                      <c:ptCount val="1"/>
                      <c:pt idx="0">
                        <c:v>Mozambique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3:$N$53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9" formatCode="#,##0">
                        <c:v>477016</c:v>
                      </c:pt>
                      <c:pt idx="10" formatCode="#,##0">
                        <c:v>5198685</c:v>
                      </c:pt>
                      <c:pt idx="11" formatCode="#,##0">
                        <c:v>5278512</c:v>
                      </c:pt>
                      <c:pt idx="12" formatCode="#,##0">
                        <c:v>0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7189-43F6-8FDA-209A13DE8E85}"/>
                  </c:ext>
                </c:extLst>
              </c15:ser>
            </c15:filteredLineSeries>
            <c15:filteredLineSeries>
              <c15:ser>
                <c:idx val="14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4</c15:sqref>
                        </c15:formulaRef>
                      </c:ext>
                    </c:extLst>
                    <c:strCache>
                      <c:ptCount val="1"/>
                      <c:pt idx="0">
                        <c:v>Niger</c:v>
                      </c:pt>
                    </c:strCache>
                  </c:strRef>
                </c:tx>
                <c:spPr>
                  <a:ln w="28575" cap="rnd">
                    <a:solidFill>
                      <a:schemeClr val="accent3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4:$N$54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1">
                        <c:v>903880</c:v>
                      </c:pt>
                      <c:pt idx="2">
                        <c:v>2072438</c:v>
                      </c:pt>
                      <c:pt idx="3">
                        <c:v>2484694</c:v>
                      </c:pt>
                      <c:pt idx="4">
                        <c:v>7977379</c:v>
                      </c:pt>
                      <c:pt idx="5">
                        <c:v>10183541</c:v>
                      </c:pt>
                      <c:pt idx="6">
                        <c:v>15243535</c:v>
                      </c:pt>
                      <c:pt idx="7">
                        <c:v>16604412</c:v>
                      </c:pt>
                      <c:pt idx="8">
                        <c:v>18066916</c:v>
                      </c:pt>
                      <c:pt idx="9">
                        <c:v>17830299</c:v>
                      </c:pt>
                      <c:pt idx="10">
                        <c:v>19099420</c:v>
                      </c:pt>
                      <c:pt idx="11">
                        <c:v>19342524</c:v>
                      </c:pt>
                      <c:pt idx="12">
                        <c:v>2069482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7189-43F6-8FDA-209A13DE8E85}"/>
                  </c:ext>
                </c:extLst>
              </c15:ser>
            </c15:filteredLineSeries>
            <c15:filteredLineSeries>
              <c15:ser>
                <c:idx val="15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5</c15:sqref>
                        </c15:formulaRef>
                      </c:ext>
                    </c:extLst>
                    <c:strCache>
                      <c:ptCount val="1"/>
                      <c:pt idx="0">
                        <c:v>Nigeria</c:v>
                      </c:pt>
                    </c:strCache>
                  </c:strRef>
                </c:tx>
                <c:spPr>
                  <a:ln w="28575" cap="rnd">
                    <a:solidFill>
                      <a:schemeClr val="accent4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5:$N$55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1">
                        <c:v>837804</c:v>
                      </c:pt>
                      <c:pt idx="2">
                        <c:v>1481118</c:v>
                      </c:pt>
                      <c:pt idx="3">
                        <c:v>3149597</c:v>
                      </c:pt>
                      <c:pt idx="4">
                        <c:v>6316916</c:v>
                      </c:pt>
                      <c:pt idx="5">
                        <c:v>9298163</c:v>
                      </c:pt>
                      <c:pt idx="6">
                        <c:v>13842931</c:v>
                      </c:pt>
                      <c:pt idx="7">
                        <c:v>16764663</c:v>
                      </c:pt>
                      <c:pt idx="8">
                        <c:v>52944556</c:v>
                      </c:pt>
                      <c:pt idx="9">
                        <c:v>96002997</c:v>
                      </c:pt>
                      <c:pt idx="10">
                        <c:v>107414919</c:v>
                      </c:pt>
                      <c:pt idx="11">
                        <c:v>121007735</c:v>
                      </c:pt>
                      <c:pt idx="12">
                        <c:v>12042421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7189-43F6-8FDA-209A13DE8E85}"/>
                  </c:ext>
                </c:extLst>
              </c15:ser>
            </c15:filteredLineSeries>
            <c15:filteredLineSeries>
              <c15:ser>
                <c:idx val="16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6</c15:sqref>
                        </c15:formulaRef>
                      </c:ext>
                    </c:extLst>
                    <c:strCache>
                      <c:ptCount val="1"/>
                      <c:pt idx="0">
                        <c:v>Senegal</c:v>
                      </c:pt>
                    </c:strCache>
                  </c:strRef>
                </c:tx>
                <c:spPr>
                  <a:ln w="28575" cap="rnd">
                    <a:solidFill>
                      <a:schemeClr val="accent5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6:$N$56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1">
                        <c:v>222836</c:v>
                      </c:pt>
                      <c:pt idx="2">
                        <c:v>1787236</c:v>
                      </c:pt>
                      <c:pt idx="3">
                        <c:v>1887211</c:v>
                      </c:pt>
                      <c:pt idx="4">
                        <c:v>1910656</c:v>
                      </c:pt>
                      <c:pt idx="5">
                        <c:v>1942868</c:v>
                      </c:pt>
                      <c:pt idx="7">
                        <c:v>2684527</c:v>
                      </c:pt>
                      <c:pt idx="8">
                        <c:v>2107303</c:v>
                      </c:pt>
                      <c:pt idx="9">
                        <c:v>2290288</c:v>
                      </c:pt>
                      <c:pt idx="10">
                        <c:v>2467495</c:v>
                      </c:pt>
                      <c:pt idx="11">
                        <c:v>2934346</c:v>
                      </c:pt>
                      <c:pt idx="12">
                        <c:v>281708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7189-43F6-8FDA-209A13DE8E85}"/>
                  </c:ext>
                </c:extLst>
              </c15:ser>
            </c15:filteredLineSeries>
            <c15:filteredLineSeries>
              <c15:ser>
                <c:idx val="17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7</c15:sqref>
                        </c15:formulaRef>
                      </c:ext>
                    </c:extLst>
                    <c:strCache>
                      <c:ptCount val="1"/>
                      <c:pt idx="0">
                        <c:v>South Sudan</c:v>
                      </c:pt>
                    </c:strCache>
                  </c:strRef>
                </c:tx>
                <c:spPr>
                  <a:ln w="28575" cap="rnd">
                    <a:solidFill>
                      <a:schemeClr val="accent6">
                        <a:lumMod val="80000"/>
                        <a:lumOff val="2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7:$N$57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10" formatCode="#,##0">
                        <c:v>90000</c:v>
                      </c:pt>
                      <c:pt idx="11" formatCode="#,##0">
                        <c:v>278383</c:v>
                      </c:pt>
                      <c:pt idx="12" formatCode="#,##0">
                        <c:v>38137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7189-43F6-8FDA-209A13DE8E85}"/>
                  </c:ext>
                </c:extLst>
              </c15:ser>
            </c15:filteredLineSeries>
            <c15:filteredLineSeries>
              <c15:ser>
                <c:idx val="18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8</c15:sqref>
                        </c15:formulaRef>
                      </c:ext>
                    </c:extLst>
                    <c:strCache>
                      <c:ptCount val="1"/>
                      <c:pt idx="0">
                        <c:v>Togo</c:v>
                      </c:pt>
                    </c:strCache>
                  </c:strRef>
                </c:tx>
                <c:spPr>
                  <a:ln w="28575" cap="rnd">
                    <a:solidFill>
                      <a:schemeClr val="accent1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8:$N$58</c15:sqref>
                        </c15:formulaRef>
                      </c:ext>
                    </c:extLst>
                    <c:numCache>
                      <c:formatCode>#,##0</c:formatCode>
                      <c:ptCount val="13"/>
                      <c:pt idx="1">
                        <c:v>476888</c:v>
                      </c:pt>
                      <c:pt idx="2">
                        <c:v>510494</c:v>
                      </c:pt>
                      <c:pt idx="4">
                        <c:v>1235433</c:v>
                      </c:pt>
                      <c:pt idx="5">
                        <c:v>1529275</c:v>
                      </c:pt>
                      <c:pt idx="6">
                        <c:v>1302483</c:v>
                      </c:pt>
                      <c:pt idx="7">
                        <c:v>1185327</c:v>
                      </c:pt>
                      <c:pt idx="8">
                        <c:v>1946863</c:v>
                      </c:pt>
                      <c:pt idx="9">
                        <c:v>1903986</c:v>
                      </c:pt>
                      <c:pt idx="10">
                        <c:v>2076563</c:v>
                      </c:pt>
                      <c:pt idx="11">
                        <c:v>1813614</c:v>
                      </c:pt>
                      <c:pt idx="12">
                        <c:v>282851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7189-43F6-8FDA-209A13DE8E85}"/>
                  </c:ext>
                </c:extLst>
              </c15:ser>
            </c15:filteredLineSeries>
            <c15:filteredLineSeries>
              <c15:ser>
                <c:idx val="19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A$59</c15:sqref>
                        </c15:formulaRef>
                      </c:ext>
                    </c:extLst>
                    <c:strCache>
                      <c:ptCount val="1"/>
                      <c:pt idx="0">
                        <c:v>Uganda</c:v>
                      </c:pt>
                    </c:strCache>
                  </c:strRef>
                </c:tx>
                <c:spPr>
                  <a:ln w="28575" cap="rnd">
                    <a:solidFill>
                      <a:schemeClr val="accent2">
                        <a:lumMod val="80000"/>
                      </a:schemeClr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40:$N$40</c15:sqref>
                        </c15:formulaRef>
                      </c:ext>
                    </c:extLst>
                    <c:strCache>
                      <c:ptCount val="13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  <c:pt idx="5">
                        <c:v>2017</c:v>
                      </c:pt>
                      <c:pt idx="6">
                        <c:v>2018</c:v>
                      </c:pt>
                      <c:pt idx="7">
                        <c:v>2019</c:v>
                      </c:pt>
                      <c:pt idx="8">
                        <c:v>2020</c:v>
                      </c:pt>
                      <c:pt idx="9">
                        <c:v>2021</c:v>
                      </c:pt>
                      <c:pt idx="10">
                        <c:v>2022</c:v>
                      </c:pt>
                      <c:pt idx="11">
                        <c:v>2023</c:v>
                      </c:pt>
                      <c:pt idx="12">
                        <c:v>2024*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Overview!$B$59:$N$59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9" formatCode="#,##0">
                        <c:v>409495</c:v>
                      </c:pt>
                      <c:pt idx="10" formatCode="#,##0">
                        <c:v>1000206</c:v>
                      </c:pt>
                      <c:pt idx="11" formatCode="#,##0">
                        <c:v>1315080</c:v>
                      </c:pt>
                      <c:pt idx="12" formatCode="#,##0">
                        <c:v>1380767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7189-43F6-8FDA-209A13DE8E85}"/>
                  </c:ext>
                </c:extLst>
              </c15:ser>
            </c15:filteredLineSeries>
          </c:ext>
        </c:extLst>
      </c:lineChart>
      <c:catAx>
        <c:axId val="113954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139526576"/>
        <c:crosses val="autoZero"/>
        <c:auto val="1"/>
        <c:lblAlgn val="ctr"/>
        <c:lblOffset val="100"/>
        <c:noMultiLvlLbl val="0"/>
      </c:catAx>
      <c:valAx>
        <c:axId val="1139526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13954385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C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treatments per age grou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phs!$A$5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H$4:$L$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  <c:extLst/>
            </c:strRef>
          </c:cat>
          <c:val>
            <c:numRef>
              <c:f>Graphs!$H$5:$L$5</c:f>
              <c:numCache>
                <c:formatCode>#,##0</c:formatCode>
                <c:ptCount val="5"/>
                <c:pt idx="0">
                  <c:v>23144622</c:v>
                </c:pt>
                <c:pt idx="1">
                  <c:v>36045489</c:v>
                </c:pt>
                <c:pt idx="2">
                  <c:v>36577894</c:v>
                </c:pt>
                <c:pt idx="3">
                  <c:v>39145883</c:v>
                </c:pt>
                <c:pt idx="4">
                  <c:v>3975684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F9F4-4C76-8577-16D179F86F0C}"/>
            </c:ext>
          </c:extLst>
        </c:ser>
        <c:ser>
          <c:idx val="1"/>
          <c:order val="1"/>
          <c:tx>
            <c:strRef>
              <c:f>Graphs!$A$6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Graphs!$H$4:$L$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  <c:extLst/>
            </c:strRef>
          </c:cat>
          <c:val>
            <c:numRef>
              <c:f>Graphs!$H$6:$L$6</c:f>
              <c:numCache>
                <c:formatCode>#,##0</c:formatCode>
                <c:ptCount val="5"/>
                <c:pt idx="0">
                  <c:v>108235679</c:v>
                </c:pt>
                <c:pt idx="1">
                  <c:v>141832821</c:v>
                </c:pt>
                <c:pt idx="2">
                  <c:v>164817396</c:v>
                </c:pt>
                <c:pt idx="3">
                  <c:v>178073180</c:v>
                </c:pt>
                <c:pt idx="4">
                  <c:v>183065925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F9F4-4C76-8577-16D179F86F0C}"/>
            </c:ext>
          </c:extLst>
        </c:ser>
        <c:ser>
          <c:idx val="2"/>
          <c:order val="2"/>
          <c:tx>
            <c:strRef>
              <c:f>Graphs!$A$7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Graphs!$H$4:$L$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  <c:extLst/>
            </c:strRef>
          </c:cat>
          <c:val>
            <c:numRef>
              <c:f>Graphs!$H$7:$L$7</c:f>
              <c:numCache>
                <c:formatCode>#,##0</c:formatCode>
                <c:ptCount val="5"/>
                <c:pt idx="0">
                  <c:v>1525108</c:v>
                </c:pt>
                <c:pt idx="1">
                  <c:v>1897093</c:v>
                </c:pt>
                <c:pt idx="2">
                  <c:v>2329680</c:v>
                </c:pt>
                <c:pt idx="3">
                  <c:v>2767187</c:v>
                </c:pt>
                <c:pt idx="4">
                  <c:v>350717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F9F4-4C76-8577-16D179F86F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1026801296"/>
        <c:axId val="1026772496"/>
      </c:barChart>
      <c:lineChart>
        <c:grouping val="standard"/>
        <c:varyColors val="0"/>
        <c:ser>
          <c:idx val="3"/>
          <c:order val="3"/>
          <c:tx>
            <c:strRef>
              <c:f>Graphs!$A$8</c:f>
              <c:strCache>
                <c:ptCount val="1"/>
                <c:pt idx="0">
                  <c:v>Share of 5-10 years old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Graphs!$H$4:$L$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  <c:extLst/>
            </c:strRef>
          </c:cat>
          <c:val>
            <c:numRef>
              <c:f>Graphs!$H$8:$L$8</c:f>
              <c:numCache>
                <c:formatCode>0.0%</c:formatCode>
                <c:ptCount val="5"/>
                <c:pt idx="0">
                  <c:v>1.1475138683031329E-2</c:v>
                </c:pt>
                <c:pt idx="1">
                  <c:v>1.0552572645324566E-2</c:v>
                </c:pt>
                <c:pt idx="2">
                  <c:v>1.1435417072340224E-2</c:v>
                </c:pt>
                <c:pt idx="3">
                  <c:v>1.2578908909079544E-2</c:v>
                </c:pt>
                <c:pt idx="4">
                  <c:v>1.5495837556905473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F9F4-4C76-8577-16D179F86F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7735856"/>
        <c:axId val="817715696"/>
      </c:lineChart>
      <c:catAx>
        <c:axId val="1026801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26772496"/>
        <c:crosses val="autoZero"/>
        <c:auto val="1"/>
        <c:lblAlgn val="ctr"/>
        <c:lblOffset val="100"/>
        <c:noMultiLvlLbl val="0"/>
      </c:catAx>
      <c:valAx>
        <c:axId val="1026772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02680129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valAx>
        <c:axId val="817715696"/>
        <c:scaling>
          <c:orientation val="minMax"/>
          <c:max val="2.0000000000000004E-2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817735856"/>
        <c:crosses val="max"/>
        <c:crossBetween val="between"/>
      </c:valAx>
      <c:catAx>
        <c:axId val="81773585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17715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/>
      </a:pPr>
      <a:endParaRPr lang="en-CH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umber of treatments per cyc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A$47</c:f>
              <c:strCache>
                <c:ptCount val="1"/>
                <c:pt idx="0">
                  <c:v>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47:$L$47</c:f>
              <c:numCache>
                <c:formatCode>General</c:formatCode>
                <c:ptCount val="5"/>
                <c:pt idx="0">
                  <c:v>32243201</c:v>
                </c:pt>
                <c:pt idx="1">
                  <c:v>39711578</c:v>
                </c:pt>
                <c:pt idx="2">
                  <c:v>46245370</c:v>
                </c:pt>
                <c:pt idx="3">
                  <c:v>48627424</c:v>
                </c:pt>
                <c:pt idx="4">
                  <c:v>4949887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C022-4EA4-93BE-8F0B1CFB2736}"/>
            </c:ext>
          </c:extLst>
        </c:ser>
        <c:ser>
          <c:idx val="1"/>
          <c:order val="1"/>
          <c:tx>
            <c:strRef>
              <c:f>Graphs!$A$48</c:f>
              <c:strCache>
                <c:ptCount val="1"/>
                <c:pt idx="0">
                  <c:v>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48:$L$48</c:f>
              <c:numCache>
                <c:formatCode>General</c:formatCode>
                <c:ptCount val="5"/>
                <c:pt idx="0">
                  <c:v>33807051</c:v>
                </c:pt>
                <c:pt idx="1">
                  <c:v>45392187</c:v>
                </c:pt>
                <c:pt idx="2">
                  <c:v>50180397</c:v>
                </c:pt>
                <c:pt idx="3">
                  <c:v>53076101</c:v>
                </c:pt>
                <c:pt idx="4">
                  <c:v>5372934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C022-4EA4-93BE-8F0B1CFB2736}"/>
            </c:ext>
          </c:extLst>
        </c:ser>
        <c:ser>
          <c:idx val="2"/>
          <c:order val="2"/>
          <c:tx>
            <c:strRef>
              <c:f>Graphs!$A$49</c:f>
              <c:strCache>
                <c:ptCount val="1"/>
                <c:pt idx="0">
                  <c:v>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49:$L$49</c:f>
              <c:numCache>
                <c:formatCode>General</c:formatCode>
                <c:ptCount val="5"/>
                <c:pt idx="0">
                  <c:v>33774717</c:v>
                </c:pt>
                <c:pt idx="1">
                  <c:v>47138470</c:v>
                </c:pt>
                <c:pt idx="2">
                  <c:v>49056615</c:v>
                </c:pt>
                <c:pt idx="3">
                  <c:v>53881575</c:v>
                </c:pt>
                <c:pt idx="4">
                  <c:v>5358435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C022-4EA4-93BE-8F0B1CFB2736}"/>
            </c:ext>
          </c:extLst>
        </c:ser>
        <c:ser>
          <c:idx val="3"/>
          <c:order val="3"/>
          <c:tx>
            <c:strRef>
              <c:f>Graphs!$A$50</c:f>
              <c:strCache>
                <c:ptCount val="1"/>
                <c:pt idx="0">
                  <c:v>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50:$L$50</c:f>
              <c:numCache>
                <c:formatCode>General</c:formatCode>
                <c:ptCount val="5"/>
                <c:pt idx="0">
                  <c:v>33080441</c:v>
                </c:pt>
                <c:pt idx="1">
                  <c:v>41492522</c:v>
                </c:pt>
                <c:pt idx="2">
                  <c:v>47177641</c:v>
                </c:pt>
                <c:pt idx="3">
                  <c:v>52294569</c:v>
                </c:pt>
                <c:pt idx="4">
                  <c:v>5238304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C022-4EA4-93BE-8F0B1CFB2736}"/>
            </c:ext>
          </c:extLst>
        </c:ser>
        <c:ser>
          <c:idx val="4"/>
          <c:order val="4"/>
          <c:tx>
            <c:strRef>
              <c:f>Graphs!$A$51</c:f>
              <c:strCache>
                <c:ptCount val="1"/>
                <c:pt idx="0">
                  <c:v>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51:$L$51</c:f>
              <c:numCache>
                <c:formatCode>General</c:formatCode>
                <c:ptCount val="5"/>
                <c:pt idx="1">
                  <c:v>6040645</c:v>
                </c:pt>
                <c:pt idx="2">
                  <c:v>11154947</c:v>
                </c:pt>
                <c:pt idx="3">
                  <c:v>12689586</c:v>
                </c:pt>
                <c:pt idx="4">
                  <c:v>1620635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C022-4EA4-93BE-8F0B1CFB27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64819056"/>
        <c:axId val="764808496"/>
      </c:barChart>
      <c:lineChart>
        <c:grouping val="standard"/>
        <c:varyColors val="0"/>
        <c:ser>
          <c:idx val="5"/>
          <c:order val="5"/>
          <c:tx>
            <c:strRef>
              <c:f>Graphs!$A$52</c:f>
              <c:strCache>
                <c:ptCount val="1"/>
                <c:pt idx="0">
                  <c:v>Share of 5th cycle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Graphs!$H$46:$L$46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*</c:v>
                </c:pt>
              </c:strCache>
            </c:strRef>
          </c:cat>
          <c:val>
            <c:numRef>
              <c:f>Graphs!$H$52:$L$52</c:f>
              <c:numCache>
                <c:formatCode>0.0%</c:formatCode>
                <c:ptCount val="5"/>
                <c:pt idx="1">
                  <c:v>3.3601065177982468E-2</c:v>
                </c:pt>
                <c:pt idx="2">
                  <c:v>5.4730754075620648E-2</c:v>
                </c:pt>
                <c:pt idx="3">
                  <c:v>5.7531073403679946E-2</c:v>
                </c:pt>
                <c:pt idx="4">
                  <c:v>7.1899808290933967E-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5-C022-4EA4-93BE-8F0B1CFB27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64821936"/>
        <c:axId val="764816176"/>
      </c:lineChart>
      <c:catAx>
        <c:axId val="764819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08496"/>
        <c:crosses val="autoZero"/>
        <c:auto val="1"/>
        <c:lblAlgn val="ctr"/>
        <c:lblOffset val="100"/>
        <c:noMultiLvlLbl val="0"/>
      </c:catAx>
      <c:valAx>
        <c:axId val="764808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19056"/>
        <c:crosses val="autoZero"/>
        <c:crossBetween val="between"/>
        <c:dispUnits>
          <c:builtInUnit val="m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H"/>
              </a:p>
            </c:txPr>
          </c:dispUnitsLbl>
        </c:dispUnits>
      </c:valAx>
      <c:valAx>
        <c:axId val="764816176"/>
        <c:scaling>
          <c:orientation val="minMax"/>
          <c:max val="0.2"/>
        </c:scaling>
        <c:delete val="0"/>
        <c:axPos val="r"/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764821936"/>
        <c:crosses val="max"/>
        <c:crossBetween val="between"/>
      </c:valAx>
      <c:catAx>
        <c:axId val="7648219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6481617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CH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chieved versus target per cyc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1515</c:f>
              <c:strCache>
                <c:ptCount val="1"/>
                <c:pt idx="0">
                  <c:v>Cycl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C$1514:$J$151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</c:strRef>
          </c:cat>
          <c:val>
            <c:numRef>
              <c:f>Graphs!$C$1515:$J$1515</c:f>
              <c:numCache>
                <c:formatCode>0%</c:formatCode>
                <c:ptCount val="8"/>
                <c:pt idx="0">
                  <c:v>0.97380821448720833</c:v>
                </c:pt>
                <c:pt idx="1">
                  <c:v>0.99705133448483807</c:v>
                </c:pt>
                <c:pt idx="2">
                  <c:v>0.97847550614613565</c:v>
                </c:pt>
                <c:pt idx="3">
                  <c:v>1.0566451053595722</c:v>
                </c:pt>
                <c:pt idx="4">
                  <c:v>1.0133256856779442</c:v>
                </c:pt>
                <c:pt idx="5">
                  <c:v>1.0196374943757227</c:v>
                </c:pt>
                <c:pt idx="6">
                  <c:v>0.97723922471895941</c:v>
                </c:pt>
                <c:pt idx="7" formatCode="0.0%">
                  <c:v>0.985512205853152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00-479C-8202-DB651F6B5477}"/>
            </c:ext>
          </c:extLst>
        </c:ser>
        <c:ser>
          <c:idx val="1"/>
          <c:order val="1"/>
          <c:tx>
            <c:strRef>
              <c:f>Graphs!$B$1516</c:f>
              <c:strCache>
                <c:ptCount val="1"/>
                <c:pt idx="0">
                  <c:v>Cycl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C$1514:$J$151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</c:strRef>
          </c:cat>
          <c:val>
            <c:numRef>
              <c:f>Graphs!$C$1516:$J$1516</c:f>
              <c:numCache>
                <c:formatCode>0%</c:formatCode>
                <c:ptCount val="8"/>
                <c:pt idx="0">
                  <c:v>1.0005554040754274</c:v>
                </c:pt>
                <c:pt idx="1">
                  <c:v>1.0229056340431526</c:v>
                </c:pt>
                <c:pt idx="2">
                  <c:v>0.99946983107099452</c:v>
                </c:pt>
                <c:pt idx="3">
                  <c:v>1.07656884108703</c:v>
                </c:pt>
                <c:pt idx="4">
                  <c:v>1.050341781964411</c:v>
                </c:pt>
                <c:pt idx="5">
                  <c:v>1.0242487231793571</c:v>
                </c:pt>
                <c:pt idx="6">
                  <c:v>1.0011867012276354</c:v>
                </c:pt>
                <c:pt idx="7" formatCode="0.0%">
                  <c:v>0.988819742354337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00-479C-8202-DB651F6B5477}"/>
            </c:ext>
          </c:extLst>
        </c:ser>
        <c:ser>
          <c:idx val="2"/>
          <c:order val="2"/>
          <c:tx>
            <c:strRef>
              <c:f>Graphs!$B$1517</c:f>
              <c:strCache>
                <c:ptCount val="1"/>
                <c:pt idx="0">
                  <c:v>Cycle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C$1514:$J$151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</c:strRef>
          </c:cat>
          <c:val>
            <c:numRef>
              <c:f>Graphs!$C$1517:$J$1517</c:f>
              <c:numCache>
                <c:formatCode>0%</c:formatCode>
                <c:ptCount val="8"/>
                <c:pt idx="0">
                  <c:v>0.98303261447590429</c:v>
                </c:pt>
                <c:pt idx="1">
                  <c:v>1.0347202601487326</c:v>
                </c:pt>
                <c:pt idx="2">
                  <c:v>0.98849559113060681</c:v>
                </c:pt>
                <c:pt idx="3">
                  <c:v>1.0702512467145151</c:v>
                </c:pt>
                <c:pt idx="4">
                  <c:v>1.0868949532196897</c:v>
                </c:pt>
                <c:pt idx="5">
                  <c:v>0.99953147549460963</c:v>
                </c:pt>
                <c:pt idx="6">
                  <c:v>1.0093783800198137</c:v>
                </c:pt>
                <c:pt idx="7" formatCode="0.0%">
                  <c:v>0.98255729182031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00-479C-8202-DB651F6B5477}"/>
            </c:ext>
          </c:extLst>
        </c:ser>
        <c:ser>
          <c:idx val="3"/>
          <c:order val="3"/>
          <c:tx>
            <c:strRef>
              <c:f>Graphs!$B$1518</c:f>
              <c:strCache>
                <c:ptCount val="1"/>
                <c:pt idx="0">
                  <c:v>Cycle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Graphs!$C$1514:$J$151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</c:strRef>
          </c:cat>
          <c:val>
            <c:numRef>
              <c:f>Graphs!$C$1518:$J$1518</c:f>
              <c:numCache>
                <c:formatCode>0%</c:formatCode>
                <c:ptCount val="8"/>
                <c:pt idx="0">
                  <c:v>0.87270061375183539</c:v>
                </c:pt>
                <c:pt idx="1">
                  <c:v>1.04107224477666</c:v>
                </c:pt>
                <c:pt idx="2">
                  <c:v>0.98722260439334331</c:v>
                </c:pt>
                <c:pt idx="3">
                  <c:v>1.0431253422315236</c:v>
                </c:pt>
                <c:pt idx="4">
                  <c:v>0.9732097435993301</c:v>
                </c:pt>
                <c:pt idx="5">
                  <c:v>0.97365640667406117</c:v>
                </c:pt>
                <c:pt idx="6">
                  <c:v>0.98925818871622706</c:v>
                </c:pt>
                <c:pt idx="7" formatCode="0.0%">
                  <c:v>0.96861388711685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00-479C-8202-DB651F6B5477}"/>
            </c:ext>
          </c:extLst>
        </c:ser>
        <c:ser>
          <c:idx val="4"/>
          <c:order val="4"/>
          <c:tx>
            <c:strRef>
              <c:f>Graphs!$B$1519</c:f>
              <c:strCache>
                <c:ptCount val="1"/>
                <c:pt idx="0">
                  <c:v>Cycle 5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Graphs!$C$1514:$J$151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</c:strRef>
          </c:cat>
          <c:val>
            <c:numRef>
              <c:f>Graphs!$C$1519:$J$1519</c:f>
              <c:numCache>
                <c:formatCode>General</c:formatCode>
                <c:ptCount val="8"/>
                <c:pt idx="4" formatCode="0%">
                  <c:v>1.0064333212485372</c:v>
                </c:pt>
                <c:pt idx="5" formatCode="0%">
                  <c:v>1.0421979596927673</c:v>
                </c:pt>
                <c:pt idx="6" formatCode="0%">
                  <c:v>0.99896038603166926</c:v>
                </c:pt>
                <c:pt idx="7" formatCode="0.0%">
                  <c:v>0.991063115998481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00-479C-8202-DB651F6B54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0337439"/>
        <c:axId val="190335039"/>
      </c:barChart>
      <c:catAx>
        <c:axId val="1903374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90335039"/>
        <c:crosses val="autoZero"/>
        <c:auto val="1"/>
        <c:lblAlgn val="ctr"/>
        <c:lblOffset val="100"/>
        <c:noMultiLvlLbl val="0"/>
      </c:catAx>
      <c:valAx>
        <c:axId val="19033503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903374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CH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chieved versus target per age grou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raphs!$B$85</c:f>
              <c:strCache>
                <c:ptCount val="1"/>
                <c:pt idx="0">
                  <c:v>3-11 month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Graphs!$D$84:$K$8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  <c:extLst/>
            </c:strRef>
          </c:cat>
          <c:val>
            <c:numRef>
              <c:f>Graphs!$D$85:$K$85</c:f>
              <c:numCache>
                <c:formatCode>0%</c:formatCode>
                <c:ptCount val="8"/>
                <c:pt idx="0">
                  <c:v>0.9326713157848523</c:v>
                </c:pt>
                <c:pt idx="1">
                  <c:v>0.95755109513221859</c:v>
                </c:pt>
                <c:pt idx="2">
                  <c:v>0.829969717488377</c:v>
                </c:pt>
                <c:pt idx="3">
                  <c:v>1.0006553978360846</c:v>
                </c:pt>
                <c:pt idx="4">
                  <c:v>1.1270800982399027</c:v>
                </c:pt>
                <c:pt idx="5">
                  <c:v>0.98435980729226558</c:v>
                </c:pt>
                <c:pt idx="6">
                  <c:v>0.92259045106976845</c:v>
                </c:pt>
                <c:pt idx="7">
                  <c:v>0.9183956889682591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0882-4685-AA43-E02BE6DCBE92}"/>
            </c:ext>
          </c:extLst>
        </c:ser>
        <c:ser>
          <c:idx val="1"/>
          <c:order val="1"/>
          <c:tx>
            <c:strRef>
              <c:f>Graphs!$B$86</c:f>
              <c:strCache>
                <c:ptCount val="1"/>
                <c:pt idx="0">
                  <c:v>12-59 month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Graphs!$D$84:$K$8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  <c:extLst/>
            </c:strRef>
          </c:cat>
          <c:val>
            <c:numRef>
              <c:f>Graphs!$D$86:$K$86</c:f>
              <c:numCache>
                <c:formatCode>0%</c:formatCode>
                <c:ptCount val="8"/>
                <c:pt idx="0">
                  <c:v>0.96917874231850465</c:v>
                </c:pt>
                <c:pt idx="1">
                  <c:v>1.0382466920655298</c:v>
                </c:pt>
                <c:pt idx="2">
                  <c:v>0.83690051996573966</c:v>
                </c:pt>
                <c:pt idx="3">
                  <c:v>1.0784393375376078</c:v>
                </c:pt>
                <c:pt idx="4">
                  <c:v>1.0098430361479378</c:v>
                </c:pt>
                <c:pt idx="5">
                  <c:v>1.0109694990614833</c:v>
                </c:pt>
                <c:pt idx="6">
                  <c:v>1.0108062761973158</c:v>
                </c:pt>
                <c:pt idx="7">
                  <c:v>0.99827122328664886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0882-4685-AA43-E02BE6DCBE92}"/>
            </c:ext>
          </c:extLst>
        </c:ser>
        <c:ser>
          <c:idx val="2"/>
          <c:order val="2"/>
          <c:tx>
            <c:strRef>
              <c:f>Graphs!$B$87</c:f>
              <c:strCache>
                <c:ptCount val="1"/>
                <c:pt idx="0">
                  <c:v>60-120 month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Graphs!$D$84:$K$84</c:f>
              <c:strCache>
                <c:ptCount val="8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  <c:pt idx="7">
                  <c:v>2024*</c:v>
                </c:pt>
              </c:strCache>
              <c:extLst/>
            </c:strRef>
          </c:cat>
          <c:val>
            <c:numRef>
              <c:f>Graphs!$D$87:$K$87</c:f>
              <c:numCache>
                <c:formatCode>0%</c:formatCode>
                <c:ptCount val="8"/>
                <c:pt idx="0">
                  <c:v>1.0382528018244812</c:v>
                </c:pt>
                <c:pt idx="1">
                  <c:v>0.98148165893671657</c:v>
                </c:pt>
                <c:pt idx="2">
                  <c:v>0.96447651987336291</c:v>
                </c:pt>
                <c:pt idx="3">
                  <c:v>0.89970609715665817</c:v>
                </c:pt>
                <c:pt idx="4">
                  <c:v>0.95497443290790307</c:v>
                </c:pt>
                <c:pt idx="5">
                  <c:v>0.98528425971938804</c:v>
                </c:pt>
                <c:pt idx="6">
                  <c:v>0.86123345069841717</c:v>
                </c:pt>
                <c:pt idx="7">
                  <c:v>0.93783754554110654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0882-4685-AA43-E02BE6DCBE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34418207"/>
        <c:axId val="1834422527"/>
      </c:barChart>
      <c:catAx>
        <c:axId val="18344182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834422527"/>
        <c:crosses val="autoZero"/>
        <c:auto val="1"/>
        <c:lblAlgn val="ctr"/>
        <c:lblOffset val="100"/>
        <c:noMultiLvlLbl val="0"/>
      </c:catAx>
      <c:valAx>
        <c:axId val="1834422527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H"/>
          </a:p>
        </c:txPr>
        <c:crossAx val="18344182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H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C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/>
              </a:defRPr>
            </a:lvl1pPr>
          </a:lstStyle>
          <a:p>
            <a:fld id="{FA599DB5-F951-465E-9D7E-371F7B638051}" type="datetimeFigureOut">
              <a:rPr lang="en-US" smtClean="0"/>
              <a:pPr/>
              <a:t>3/5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/>
              </a:defRPr>
            </a:lvl1pPr>
          </a:lstStyle>
          <a:p>
            <a:fld id="{3DAE7F38-D7FC-49C1-9028-C8337DBBF6A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435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>
            <a:extLst>
              <a:ext uri="{FF2B5EF4-FFF2-40B4-BE49-F238E27FC236}">
                <a16:creationId xmlns:a16="http://schemas.microsoft.com/office/drawing/2014/main" id="{F1190DB5-E6A4-45B2-8018-1E4C6E6A002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>
            <a:extLst>
              <a:ext uri="{FF2B5EF4-FFF2-40B4-BE49-F238E27FC236}">
                <a16:creationId xmlns:a16="http://schemas.microsoft.com/office/drawing/2014/main" id="{803D9380-D290-433F-8CB2-8B4E67FD7E4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/>
          </a:p>
        </p:txBody>
      </p:sp>
      <p:sp>
        <p:nvSpPr>
          <p:cNvPr id="10244" name="Slide Number Placeholder 3">
            <a:extLst>
              <a:ext uri="{FF2B5EF4-FFF2-40B4-BE49-F238E27FC236}">
                <a16:creationId xmlns:a16="http://schemas.microsoft.com/office/drawing/2014/main" id="{13AC7C7C-5EDE-41D7-92F7-1D54B979E6E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B7CA4D-BD4E-476E-BE56-94205F743E67}" type="slidenum">
              <a:rPr kumimoji="0" lang="fr-FR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57202" y="618564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6042535"/>
      </p:ext>
    </p:extLst>
  </p:cSld>
  <p:clrMapOvr>
    <a:masterClrMapping/>
  </p:clrMapOvr>
  <p:transition spd="slow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8035D6-95BB-49EA-A73A-D468B4973E0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13218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17381-96F6-4A03-B496-F7A64C84E1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26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B719B-E54D-4F5C-8928-5D8158DE655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9754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32D1CE-B6ED-4ADD-8BCF-C37162A929F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9942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C3C81-C750-4079-B713-1D2CE4C68C1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035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3F05A-8047-4243-89AD-2D4C57653CD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173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B0B2E-9FE5-4C87-A44A-58EAFFAB165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70957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1D385-62A9-4CFF-B56C-1046281EB14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29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28EE3-F15F-42BF-AB1D-F2C9AAEFD72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622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F2079-A98F-4C19-8926-5593C135B8F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2871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6806804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113529-3FE1-4D24-BC01-867ECBCD369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558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AA38F-569C-40FD-A208-222B1CA3F0F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1528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B358C-538C-4143-8B3E-6DF8394AEC7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18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04FDF7-9D13-4E81-B3F6-5B7A3BA80F6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296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EB238-F5F9-412D-AB29-85B2D05B60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9037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D6030-1CF0-49FB-8265-2F14BA6A908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585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0E1E4-1C7B-4E02-804A-3C7AE9A778F0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5869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5B42-B961-4709-A9EA-CA774A09516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4628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70956-3165-49A6-8562-BCFC76D3C73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8605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7020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F125DD-AD8A-442B-AC52-74205DAFE4F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1075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=""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BBED6D-2CE0-47C4-A54B-9CE08FF7867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6240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843196-4D66-412D-A0D0-164B33D39A0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7047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F16D5B-A693-49C5-AD9B-5B5EAB88B0C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5247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F4A2F2-7D83-4A4D-ACFA-4DF6CB35EE3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1250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EF3117-AB47-4851-AD43-B9812DA1DAD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161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tabLst>
                <a:tab pos="4613275" algn="l"/>
                <a:tab pos="4708525" algn="l"/>
              </a:tabLst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F8C71-5243-4C45-82D2-D0E8EEF539C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2938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E6E3C2-2BF0-4B07-B891-37E1D26476D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59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11" descr="img_coverAR2017.jpg">
            <a:extLst>
              <a:ext uri="{FF2B5EF4-FFF2-40B4-BE49-F238E27FC236}">
                <a16:creationId xmlns:a16="http://schemas.microsoft.com/office/drawing/2014/main" id="{C1CC153B-AB17-B04F-9D48-C2546E82C2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2634" y="-1010868"/>
            <a:ext cx="12330965" cy="827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">
            <a:extLst>
              <a:ext uri="{FF2B5EF4-FFF2-40B4-BE49-F238E27FC236}">
                <a16:creationId xmlns:a16="http://schemas.microsoft.com/office/drawing/2014/main" id="{49C44C4A-7B47-6F4F-8526-18D96782709D}"/>
              </a:ext>
            </a:extLst>
          </p:cNvPr>
          <p:cNvSpPr>
            <a:spLocks/>
          </p:cNvSpPr>
          <p:nvPr userDrawn="1"/>
        </p:nvSpPr>
        <p:spPr bwMode="auto">
          <a:xfrm>
            <a:off x="-22629" y="4330728"/>
            <a:ext cx="12411011" cy="2794694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xmlns="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defRPr/>
            </a:pPr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12" name="Ellipse 15">
            <a:extLst>
              <a:ext uri="{FF2B5EF4-FFF2-40B4-BE49-F238E27FC236}">
                <a16:creationId xmlns:a16="http://schemas.microsoft.com/office/drawing/2014/main" id="{789FAABB-AF8E-F24D-B21D-3094CC74F57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3060850" y="-2006480"/>
            <a:ext cx="8186627" cy="8216913"/>
          </a:xfrm>
          <a:prstGeom prst="ellipse">
            <a:avLst/>
          </a:prstGeom>
          <a:solidFill>
            <a:srgbClr val="F81FBB">
              <a:alpha val="78000"/>
            </a:srgbClr>
          </a:solidFill>
          <a:ln w="35560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350" dirty="0">
                <a:solidFill>
                  <a:prstClr val="white"/>
                </a:solidFill>
              </a:rPr>
              <a:t>    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CC3291C5-80ED-BD48-AD4F-A0C7C62172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7926" y="5894476"/>
            <a:ext cx="2760686" cy="86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868E41D-E236-2241-A971-D899C7FC84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3926" y="1471625"/>
            <a:ext cx="4590954" cy="2387600"/>
          </a:xfrm>
        </p:spPr>
        <p:txBody>
          <a:bodyPr anchor="t">
            <a:norm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FA0EF1-DA47-5C4C-8336-BA6B3AA1B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3926" y="3951300"/>
            <a:ext cx="3417473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8C34AB-4D2E-7D4D-BB1E-038066B594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58DB25-228E-4E0B-9880-20EA68732DE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4AC794-10A5-3C45-8279-ED01524D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063331-E3BB-EC4E-AAE4-A4176AF97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6886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D224F5-A906-4F8D-B729-717FC74555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55043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CB705-A920-42C6-8860-D661C21F016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08107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E3330-79E9-40E1-9A03-C2C867BC33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2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716295-4721-834C-99B4-B3FFD1BD6C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34610"/>
            <a:ext cx="10515600" cy="1325563"/>
          </a:xfrm>
        </p:spPr>
        <p:txBody>
          <a:bodyPr/>
          <a:lstStyle>
            <a:lvl1pPr>
              <a:defRPr>
                <a:solidFill>
                  <a:srgbClr val="66006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E6DC2C-E339-3241-9F52-6C310D3E75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8DBEDD-4A1D-F64A-B417-9CFBBE735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3BDCF-00BA-4D8C-A7F5-4F71EE539E0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F629E-8585-F84F-A80C-4CF80037CF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7B080A-774D-BE47-AF64-9F120DF5C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99038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2487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DA2C82-B936-4F6C-8E9E-86AF023CC14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651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D56497-C19B-4BC4-9BB0-8518614F9C4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2636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E5284-2D3E-4862-B700-3D493BF22A4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196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D5857B-308D-9C4E-8FAB-9ACD944C5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A612CB-977A-0848-826E-39ECDA72D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A1DBD7E-DA8E-4A4F-A208-F3CB9AD2FD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7E8637-0F20-804B-A26F-C382BBC40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54E73D-2E19-4501-BF8F-6D9FBBA7141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315B96A-5DA7-0345-8FD7-184D876BA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BCD4B7-D4FB-B44D-A6C2-244239E07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580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56109-C9EB-4542-A1C4-17BD26254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5F3779D-6505-CF4D-93F7-6DED3407427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073798-8E25-1744-803D-929BC5FD2F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BE499-FA2F-704B-9063-E04ABF8613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A0AD2-A050-42E6-8DA5-EC94044FABD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EB169E-61ED-0843-B33A-DDAB849A1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27626B-A11D-4B49-86E9-5965BD2549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120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B941F8-5FB0-D746-ACF5-7EFFE5BC67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42352C-1DAA-7D43-B7CA-53D54A48BA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53EE0B-BD1B-5E47-8F3B-5452C45E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842B3-4DF2-443A-A232-93818335A0B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772C6-2BA4-4C43-AC87-46FBFD3DC9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102141-40D0-5740-8250-722989252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858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024AA1C-5E80-DF4B-8AA0-CB1E55E619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1BFA9D-F896-9E4F-B615-A935A5E5A1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E548-6411-6748-99B0-0D20DC3A3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A0D2DD-895A-4D49-A633-CA29E391843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6792F8-83BC-F246-B004-08B416191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FBB123-4B0D-674E-97B1-7819DB1C0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64296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5">
            <a:extLst>
              <a:ext uri="{FF2B5EF4-FFF2-40B4-BE49-F238E27FC236}">
                <a16:creationId xmlns:a16="http://schemas.microsoft.com/office/drawing/2014/main" id="{60DD8F63-BA5D-41C4-B958-DC1C27DDE9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1784" y="-698499"/>
            <a:ext cx="12913784" cy="8386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1">
            <a:extLst>
              <a:ext uri="{FF2B5EF4-FFF2-40B4-BE49-F238E27FC236}">
                <a16:creationId xmlns:a16="http://schemas.microsoft.com/office/drawing/2014/main" id="{4EFBF6D0-3DDE-4A78-BBBB-37B1773D0CA0}"/>
              </a:ext>
            </a:extLst>
          </p:cNvPr>
          <p:cNvSpPr>
            <a:spLocks/>
          </p:cNvSpPr>
          <p:nvPr userDrawn="1"/>
        </p:nvSpPr>
        <p:spPr bwMode="auto">
          <a:xfrm>
            <a:off x="-143933" y="4379384"/>
            <a:ext cx="12335933" cy="2794000"/>
          </a:xfrm>
          <a:custGeom>
            <a:avLst/>
            <a:gdLst>
              <a:gd name="T0" fmla="*/ 0 w 9505056"/>
              <a:gd name="T1" fmla="*/ 1138971 h 2808312"/>
              <a:gd name="T2" fmla="*/ 9505407 w 9505056"/>
              <a:gd name="T3" fmla="*/ 0 h 2808312"/>
              <a:gd name="T4" fmla="*/ 9505407 w 9505056"/>
              <a:gd name="T5" fmla="*/ 2807794 h 2808312"/>
              <a:gd name="T6" fmla="*/ 0 w 9505056"/>
              <a:gd name="T7" fmla="*/ 2807794 h 2808312"/>
              <a:gd name="T8" fmla="*/ 0 w 9505056"/>
              <a:gd name="T9" fmla="*/ 1138971 h 280831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505056" h="2808312">
                <a:moveTo>
                  <a:pt x="0" y="1139181"/>
                </a:moveTo>
                <a:cubicBezTo>
                  <a:pt x="2317290" y="2199798"/>
                  <a:pt x="6677129" y="2422396"/>
                  <a:pt x="9505056" y="0"/>
                </a:cubicBezTo>
                <a:lnTo>
                  <a:pt x="9505056" y="2808312"/>
                </a:lnTo>
                <a:lnTo>
                  <a:pt x="0" y="2808312"/>
                </a:lnTo>
                <a:lnTo>
                  <a:pt x="0" y="113918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40000" dist="23000" dir="5400000" rotWithShape="0">
              <a:srgbClr val="000000">
                <a:alpha val="34999"/>
              </a:srgbClr>
            </a:outerShdw>
          </a:effectLst>
        </p:spPr>
        <p:txBody>
          <a:bodyPr anchor="ctr"/>
          <a:lstStyle/>
          <a:p>
            <a:pPr defTabSz="456221">
              <a:defRPr/>
            </a:pPr>
            <a:endParaRPr lang="en-US" sz="1013">
              <a:solidFill>
                <a:srgbClr val="000000"/>
              </a:solidFill>
              <a:ea typeface="ＭＳ Ｐゴシック" charset="0"/>
            </a:endParaRPr>
          </a:p>
        </p:txBody>
      </p:sp>
      <p:pic>
        <p:nvPicPr>
          <p:cNvPr id="4" name="Image 6">
            <a:extLst>
              <a:ext uri="{FF2B5EF4-FFF2-40B4-BE49-F238E27FC236}">
                <a16:creationId xmlns:a16="http://schemas.microsoft.com/office/drawing/2014/main" id="{7449D75B-9E83-408C-8A38-61616DCE99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317" y="6096000"/>
            <a:ext cx="2106083" cy="662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 8">
            <a:extLst>
              <a:ext uri="{FF2B5EF4-FFF2-40B4-BE49-F238E27FC236}">
                <a16:creationId xmlns:a16="http://schemas.microsoft.com/office/drawing/2014/main" id="{9A1DE91A-F478-45C1-B216-9408FAD1F8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90851"/>
            <a:ext cx="12192000" cy="3570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 9">
            <a:extLst>
              <a:ext uri="{FF2B5EF4-FFF2-40B4-BE49-F238E27FC236}">
                <a16:creationId xmlns:a16="http://schemas.microsoft.com/office/drawing/2014/main" id="{E383E34F-C6E8-4486-A899-A0A542259B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5651" y="-1754717"/>
            <a:ext cx="6309783" cy="634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6475986"/>
      </p:ext>
    </p:extLst>
  </p:cSld>
  <p:clrMapOvr>
    <a:masterClrMapping/>
  </p:clrMapOvr>
  <p:transition spd="slow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65200" y="195630"/>
            <a:ext cx="10261600" cy="685799"/>
          </a:xfrm>
        </p:spPr>
        <p:txBody>
          <a:bodyPr/>
          <a:lstStyle>
            <a:lvl1pPr algn="ctr">
              <a:defRPr sz="2400">
                <a:solidFill>
                  <a:srgbClr val="660066"/>
                </a:solidFill>
              </a:defRPr>
            </a:lvl1pPr>
          </a:lstStyle>
          <a:p>
            <a:r>
              <a:rPr lang="en-GB" noProof="0" dirty="0" err="1"/>
              <a:t>Cliquez</a:t>
            </a:r>
            <a:r>
              <a:rPr lang="en-GB" noProof="0" dirty="0"/>
              <a:t> et </a:t>
            </a:r>
            <a:r>
              <a:rPr lang="en-GB" noProof="0" dirty="0" err="1"/>
              <a:t>modifiez</a:t>
            </a:r>
            <a:r>
              <a:rPr lang="en-GB" noProof="0" dirty="0"/>
              <a:t>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29680" y="1351240"/>
            <a:ext cx="10261600" cy="4343400"/>
          </a:xfrm>
        </p:spPr>
        <p:txBody>
          <a:bodyPr/>
          <a:lstStyle>
            <a:lvl1pPr marL="342900" indent="-342900" algn="l"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b="0" i="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1544F-94DE-44FB-B7D0-E6858DE7701D}" type="slidenum">
              <a:rPr lang="en-US" sz="11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100" kern="120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0984951"/>
      </p:ext>
    </p:extLst>
  </p:cSld>
  <p:clrMapOvr>
    <a:masterClrMapping/>
  </p:clrMapOvr>
  <p:transition spd="slow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915BBC-C35F-CF4D-BC29-B6326B42D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5C51EC-F4C9-1C40-BE87-CB8B75988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147D48-1942-3141-951C-341A2E20C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16D82C-C62D-49BA-90E7-FECB546895A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0544D9-5A10-4F4D-9F21-E12256D9D0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E23BCB-2834-3C46-9AA4-3B7862E0B4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98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2AC51-1839-2E49-80AD-AABAFAF11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D22A0B-BDC8-5A49-8310-CEFC67B72C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BCA34-6851-8B48-BFA0-9C115C07C0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78031D-1F26-FA4E-A163-A14C569DD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D792-F589-4ACE-92F6-205EBEA779D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5B3B17-B60D-114F-B343-34A10C4C1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21D0C-79D0-CD47-9477-B77699135E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250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D7F27-41C0-A24A-BF42-7E13D2B9A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8E9251-7E32-3144-8951-C27CFCD9C9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5A29B11-B3A3-8948-A5AA-DBA00D6980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998759-82EF-274F-A664-A6C54E0DB5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A706EC-09DE-3F4E-9400-B09A84A060D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36EF0B-EE86-1D4E-8E43-40F7ADBE4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BAEB-106B-4A6E-B878-49685DFB7D5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E02927-E6D6-9D44-9016-78B2EE353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DA62A0-103B-3C4B-9F96-6BAAF8A68D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7363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4F648-4127-4447-B282-BE3B618A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B553C46-016F-A649-A9B1-DAE8116193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74748-07EA-4095-9F4E-870F960F2E8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B2993F6-26B4-EA4B-BB91-EEC0A2356F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E0ED5-B7C7-EE4F-B596-3D620DC28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1474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1F03DD-02BA-F241-8A3D-D9E4CEC9AB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9306A-5625-414C-BC6B-7B060C8797F4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FBF191-F10E-B746-8E33-E196854DD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E4AE989-6C26-7146-BEBB-FCCFD34BA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21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83852078"/>
              </p:ext>
            </p:ext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6350000" imgH="6350000" progId="TCLayout.ActiveDocument.1">
                  <p:embed/>
                </p:oleObj>
              </mc:Choice>
              <mc:Fallback>
                <p:oleObj name="think-cell Slide" r:id="rId6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5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17924D-B118-4D6C-8942-967B8487397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71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67" y="361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8365F6-B9A7-44C6-87F1-811CE78F45BA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855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51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D56F5-B27D-4927-B5F6-0CA7AB4375C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3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A70806-FCD0-7B4C-BBBA-5A52A2212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48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44B6D4-9B53-9642-88E3-ACE5AFB029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301305-52B8-3B48-A72F-DF221CA696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1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8C5E2C-D2BF-4DA6-B0B4-7921087E383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t>05/03/202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7E87C7-A2D6-B34E-A320-3BE73932C6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84E752-B79A-D24D-ABED-B9A589E6C0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0999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F8E05-1F04-024E-A5B9-F7C2A9F9F5D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28" y="6311534"/>
            <a:ext cx="1753772" cy="546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250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660066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030A0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-"/>
        <a:defRPr sz="18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1FFD6B9-9184-435E-881A-C8A6A4769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1FFD6B9-9184-435E-881A-C8A6A4769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E298B78-3C5B-4EE7-B4EB-491DB0EEB1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1600" y="6428317"/>
            <a:ext cx="2844800" cy="36406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6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2E0814C9-8792-4E0D-8284-5D20F039A6E7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  <p:sp>
        <p:nvSpPr>
          <p:cNvPr id="1027" name="Espace réservé du titre 1">
            <a:extLst>
              <a:ext uri="{FF2B5EF4-FFF2-40B4-BE49-F238E27FC236}">
                <a16:creationId xmlns:a16="http://schemas.microsoft.com/office/drawing/2014/main" id="{3A9FC01B-EA27-4F46-BC7E-8B47EF7C447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01600" y="228600"/>
            <a:ext cx="11990917" cy="702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H" altLang="en-US"/>
              <a:t>Cliquez et modifiez le titre</a:t>
            </a:r>
            <a:endParaRPr lang="fr-FR" altLang="en-US"/>
          </a:p>
        </p:txBody>
      </p:sp>
      <p:sp>
        <p:nvSpPr>
          <p:cNvPr id="1028" name="Espace réservé du texte 2">
            <a:extLst>
              <a:ext uri="{FF2B5EF4-FFF2-40B4-BE49-F238E27FC236}">
                <a16:creationId xmlns:a16="http://schemas.microsoft.com/office/drawing/2014/main" id="{6775E349-F69A-414C-A5DF-A8CAB5D6482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09600" y="114300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H" altLang="en-US"/>
              <a:t>Cliquez pour modifier les styles du texte du masque</a:t>
            </a:r>
          </a:p>
          <a:p>
            <a:pPr lvl="1"/>
            <a:r>
              <a:rPr lang="fr-CH" altLang="en-US"/>
              <a:t>Deuxième niveau</a:t>
            </a:r>
          </a:p>
          <a:p>
            <a:pPr lvl="2"/>
            <a:r>
              <a:rPr lang="fr-CH" altLang="en-US"/>
              <a:t>Troisième niveau</a:t>
            </a:r>
          </a:p>
          <a:p>
            <a:pPr lvl="3"/>
            <a:r>
              <a:rPr lang="fr-CH" altLang="en-US"/>
              <a:t>Quatrième niveau</a:t>
            </a:r>
          </a:p>
          <a:p>
            <a:pPr lvl="4"/>
            <a:r>
              <a:rPr lang="fr-CH" altLang="en-US"/>
              <a:t>Cinquième niveau</a:t>
            </a:r>
            <a:endParaRPr lang="fr-FR" altLang="en-US"/>
          </a:p>
          <a:p>
            <a:pPr lvl="3"/>
            <a:endParaRPr lang="fr-CH" altLang="en-US"/>
          </a:p>
        </p:txBody>
      </p:sp>
      <p:pic>
        <p:nvPicPr>
          <p:cNvPr id="1029" name="Image 6">
            <a:extLst>
              <a:ext uri="{FF2B5EF4-FFF2-40B4-BE49-F238E27FC236}">
                <a16:creationId xmlns:a16="http://schemas.microsoft.com/office/drawing/2014/main" id="{DA534D3B-B369-4FEA-95F5-E6436AC92A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317" y="6096000"/>
            <a:ext cx="2106083" cy="662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4487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</p:sldLayoutIdLst>
  <p:hf hdr="0" ftr="0" dt="0"/>
  <p:txStyles>
    <p:titleStyle>
      <a:lvl1pPr algn="ctr" defTabSz="607469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rgbClr val="8F296B"/>
          </a:solidFill>
          <a:latin typeface="Arial"/>
          <a:ea typeface="MS PGothic" panose="020B0600070205080204" pitchFamily="34" charset="-128"/>
          <a:cs typeface="ＭＳ Ｐゴシック" pitchFamily="-110" charset="-128"/>
        </a:defRPr>
      </a:lvl1pPr>
      <a:lvl2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2pPr>
      <a:lvl3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3pPr>
      <a:lvl4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4pPr>
      <a:lvl5pPr algn="ctr" defTabSz="607469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8F296B"/>
          </a:solidFill>
          <a:latin typeface="Arial" charset="0"/>
          <a:ea typeface="MS PGothic" panose="020B0600070205080204" pitchFamily="34" charset="-128"/>
          <a:cs typeface="ＭＳ Ｐゴシック" pitchFamily="-110" charset="-128"/>
        </a:defRPr>
      </a:lvl5pPr>
      <a:lvl6pPr marL="609570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6pPr>
      <a:lvl7pPr marL="1219139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7pPr>
      <a:lvl8pPr marL="1828709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8pPr>
      <a:lvl9pPr marL="2438278" algn="l" defTabSz="609570" rtl="0" fontAlgn="base">
        <a:spcBef>
          <a:spcPct val="0"/>
        </a:spcBef>
        <a:spcAft>
          <a:spcPct val="0"/>
        </a:spcAft>
        <a:defRPr sz="3733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455073" indent="-455073" algn="l" defTabSz="607469" rtl="0" eaLnBrk="0" fontAlgn="base" hangingPunct="0">
        <a:spcBef>
          <a:spcPct val="20000"/>
        </a:spcBef>
        <a:spcAft>
          <a:spcPct val="0"/>
        </a:spcAft>
        <a:buClr>
          <a:srgbClr val="A7005F"/>
        </a:buClr>
        <a:buSzPct val="120000"/>
        <a:buFont typeface="Arial" panose="020B0604020202020204" pitchFamily="34" charset="0"/>
        <a:buChar char="•"/>
        <a:defRPr sz="3200" b="1" kern="1200">
          <a:solidFill>
            <a:schemeClr val="tx1"/>
          </a:solidFill>
          <a:latin typeface="Arial"/>
          <a:ea typeface="MS PGothic" panose="020B0600070205080204" pitchFamily="34" charset="-128"/>
          <a:cs typeface="MS PGothic" panose="020B0600070205080204" pitchFamily="34" charset="-128"/>
        </a:defRPr>
      </a:lvl1pPr>
      <a:lvl2pPr marL="988459" indent="-378875" algn="l" defTabSz="607469" rtl="0" eaLnBrk="0" fontAlgn="base" hangingPunct="0">
        <a:spcBef>
          <a:spcPct val="20000"/>
        </a:spcBef>
        <a:spcAft>
          <a:spcPct val="0"/>
        </a:spcAft>
        <a:buClr>
          <a:srgbClr val="E91D3E"/>
        </a:buClr>
        <a:buSzPct val="120000"/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Arial"/>
          <a:ea typeface="MS PGothic" panose="020B0600070205080204" pitchFamily="34" charset="-128"/>
          <a:cs typeface="Arial"/>
        </a:defRPr>
      </a:lvl2pPr>
      <a:lvl3pPr marL="1521846" indent="-302676" algn="l" defTabSz="607469" rtl="0" eaLnBrk="0" fontAlgn="base" hangingPunct="0">
        <a:spcBef>
          <a:spcPct val="20000"/>
        </a:spcBef>
        <a:spcAft>
          <a:spcPct val="0"/>
        </a:spcAft>
        <a:buClr>
          <a:srgbClr val="FFB5FE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2131431" indent="-302676" algn="l" defTabSz="607469" rtl="0" eaLnBrk="0" fontAlgn="base" hangingPunct="0">
        <a:spcBef>
          <a:spcPct val="20000"/>
        </a:spcBef>
        <a:spcAft>
          <a:spcPct val="0"/>
        </a:spcAft>
        <a:buSzPct val="70000"/>
        <a:defRPr sz="2133" b="1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741015" indent="-302676" algn="l" defTabSz="607469" rtl="0" eaLnBrk="0" fontAlgn="base" hangingPunct="0">
        <a:spcBef>
          <a:spcPct val="20000"/>
        </a:spcBef>
        <a:spcAft>
          <a:spcPct val="0"/>
        </a:spcAft>
        <a:defRPr sz="2133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9" y="1592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2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4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i="0" baseline="0" dirty="0">
              <a:latin typeface="Arial"/>
              <a:ea typeface="ＭＳ Ｐゴシック"/>
              <a:cs typeface="Arial"/>
              <a:sym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7D7A6F9-F8B2-E941-91FC-6FC65206D7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38231" y="6311540"/>
            <a:ext cx="1753772" cy="546465"/>
          </a:xfrm>
          <a:prstGeom prst="rect">
            <a:avLst/>
          </a:prstGeom>
        </p:spPr>
      </p:pic>
      <p:sp>
        <p:nvSpPr>
          <p:cNvPr id="1029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348905" y="215904"/>
            <a:ext cx="11482917" cy="703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30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23333" y="1352550"/>
            <a:ext cx="11277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2" y="6634261"/>
            <a:ext cx="966788" cy="165100"/>
          </a:xfrm>
          <a:prstGeom prst="rect">
            <a:avLst/>
          </a:prstGeom>
        </p:spPr>
        <p:txBody>
          <a:bodyPr anchor="ctr"/>
          <a:lstStyle>
            <a:lvl1pPr>
              <a:defRPr sz="11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7A31544F-94DE-44FB-B7D0-E6858DE770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04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</p:sldLayoutIdLst>
  <p:transition spd="slow"/>
  <p:hf sldNum="0"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660066"/>
          </a:solidFill>
          <a:latin typeface="Arial"/>
          <a:ea typeface="ＭＳ Ｐゴシック" charset="-128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FFFFFF"/>
          </a:solidFill>
          <a:latin typeface="Arial" charset="0"/>
          <a:ea typeface="ＭＳ Ｐゴシック" charset="-128"/>
          <a:cs typeface="ＭＳ Ｐゴシック" pitchFamily="-110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Arial" charset="0"/>
          <a:ea typeface="ＭＳ Ｐゴシック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80000"/>
        <a:buFont typeface="Arial" panose="020B0604020202020204" pitchFamily="34" charset="0"/>
        <a:buChar char="●"/>
        <a:defRPr sz="2400" kern="1200">
          <a:solidFill>
            <a:schemeClr val="tx1"/>
          </a:solidFill>
          <a:latin typeface="Arial"/>
          <a:ea typeface="ＭＳ Ｐゴシック" charset="-128"/>
          <a:cs typeface="ＭＳ Ｐゴシック" pitchFamily="-110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—"/>
        <a:defRPr sz="2400" kern="1200">
          <a:solidFill>
            <a:schemeClr val="tx1"/>
          </a:solidFill>
          <a:latin typeface="Arial"/>
          <a:ea typeface="ＭＳ Ｐゴシック" pitchFamily="34" charset="-128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Courier New" panose="02070309020205020404" pitchFamily="49" charset="0"/>
        <a:buChar char="o"/>
        <a:defRPr sz="2400" kern="1200">
          <a:solidFill>
            <a:schemeClr val="tx1"/>
          </a:solidFill>
          <a:latin typeface="Arial"/>
          <a:ea typeface="Arial" charset="0"/>
          <a:cs typeface="Arial"/>
        </a:defRPr>
      </a:lvl3pPr>
      <a:lvl4pPr marL="16573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■"/>
        <a:defRPr sz="2400" b="0" kern="1200">
          <a:solidFill>
            <a:schemeClr val="tx1"/>
          </a:solidFill>
          <a:latin typeface="Arial"/>
          <a:ea typeface="Arial" charset="0"/>
          <a:cs typeface="Arial"/>
        </a:defRPr>
      </a:lvl4pPr>
      <a:lvl5pPr marL="21145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660066"/>
        </a:buClr>
        <a:buSzPct val="65000"/>
        <a:buFont typeface="Arial" panose="020B0604020202020204" pitchFamily="34" charset="0"/>
        <a:buChar char="□"/>
        <a:defRPr sz="2400" kern="1200">
          <a:solidFill>
            <a:srgbClr val="000000"/>
          </a:solidFill>
          <a:latin typeface="Arial"/>
          <a:ea typeface="Arial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ZoneTexte 1">
            <a:extLst>
              <a:ext uri="{FF2B5EF4-FFF2-40B4-BE49-F238E27FC236}">
                <a16:creationId xmlns:a16="http://schemas.microsoft.com/office/drawing/2014/main" id="{430D92CA-D486-489C-A22E-AA96F9BADF8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84386"/>
            <a:ext cx="5378449" cy="1054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6" tIns="34288" rIns="68576" bIns="34288">
            <a:spAutoFit/>
          </a:bodyPr>
          <a:lstStyle>
            <a:lvl1pPr defTabSz="255588"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 defTabSz="255588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 defTabSz="255588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255588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255588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255588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340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alt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SMC 2024 </a:t>
            </a:r>
            <a:r>
              <a:rPr kumimoji="0" lang="de-CH" altLang="fr-F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campaign</a:t>
            </a:r>
            <a:endParaRPr kumimoji="0" lang="de-CH" altLang="fr-FR" sz="32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340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CH" altLang="fr-FR" sz="32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Trends and </a:t>
            </a:r>
            <a:r>
              <a:rPr kumimoji="0" lang="de-CH" altLang="fr-FR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chievements</a:t>
            </a:r>
            <a:endParaRPr kumimoji="0" lang="en-US" altLang="fr-FR" sz="32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219" name="ZoneTexte 8">
            <a:extLst>
              <a:ext uri="{FF2B5EF4-FFF2-40B4-BE49-F238E27FC236}">
                <a16:creationId xmlns:a16="http://schemas.microsoft.com/office/drawing/2014/main" id="{4110B93F-B0CE-4B2E-B679-6B51154B27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1274745"/>
            <a:ext cx="5683170" cy="872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MC annual meeting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25-28 February 2025</a:t>
            </a:r>
          </a:p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en-US" sz="1600" dirty="0">
                <a:solidFill>
                  <a:srgbClr val="7030A0"/>
                </a:solidFill>
              </a:rPr>
              <a:t>Lomé, Togo</a:t>
            </a: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8E8EDF59-B42B-41D8-91A7-D228694E2F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0327" y="2359177"/>
            <a:ext cx="4351867" cy="903817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spcBef>
                <a:spcPct val="20000"/>
              </a:spcBef>
              <a:buClr>
                <a:srgbClr val="A7005F"/>
              </a:buClr>
              <a:buSzPct val="120000"/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rgbClr val="E91D3E"/>
              </a:buClr>
              <a:buSzPct val="12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B5FE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defRPr sz="1600" b="1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000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354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30076"/>
              </a:buClr>
              <a:buSzPct val="120000"/>
              <a:buFont typeface="Arial" panose="020B0604020202020204" pitchFamily="34" charset="0"/>
              <a:buNone/>
              <a:tabLst/>
              <a:defRPr/>
            </a:pPr>
            <a:r>
              <a:rPr kumimoji="0" lang="en-GB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Dr Céline Audibert, MMV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75377A07-D3B0-4C8D-AB46-BAC52B767F9D}"/>
              </a:ext>
            </a:extLst>
          </p:cNvPr>
          <p:cNvCxnSpPr>
            <a:cxnSpLocks/>
          </p:cNvCxnSpPr>
          <p:nvPr/>
        </p:nvCxnSpPr>
        <p:spPr>
          <a:xfrm>
            <a:off x="6250327" y="2220384"/>
            <a:ext cx="5301205" cy="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3496329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On average, 54 million children were covered by SMC in 2024*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5319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partial data</a:t>
            </a:r>
            <a:endParaRPr lang="fr-CH" sz="1400" i="1" dirty="0"/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E1C2FB3E-AC63-42F1-A106-7DF06F86A6C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8627880"/>
              </p:ext>
            </p:extLst>
          </p:nvPr>
        </p:nvGraphicFramePr>
        <p:xfrm>
          <a:off x="1003300" y="1098550"/>
          <a:ext cx="10058400" cy="5079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96423954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>
            <a:extLst>
              <a:ext uri="{FF2B5EF4-FFF2-40B4-BE49-F238E27FC236}">
                <a16:creationId xmlns:a16="http://schemas.microsoft.com/office/drawing/2014/main" id="{04E7B442-A860-447B-A8A9-36AAB9479028}"/>
              </a:ext>
            </a:extLst>
          </p:cNvPr>
          <p:cNvSpPr txBox="1">
            <a:spLocks/>
          </p:cNvSpPr>
          <p:nvPr/>
        </p:nvSpPr>
        <p:spPr bwMode="auto">
          <a:xfrm>
            <a:off x="618309" y="328980"/>
            <a:ext cx="11049816" cy="685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660066"/>
                </a:solidFill>
                <a:latin typeface="Arial"/>
                <a:ea typeface="ＭＳ Ｐゴシック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Arial" charset="0"/>
                <a:ea typeface="ＭＳ Ｐゴシック" charset="-128"/>
                <a:cs typeface="ＭＳ Ｐゴシック" pitchFamily="-110" charset="-128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FFFFFF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umulatively, 1.285 billion treatments were delivered since 2012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0F79A51-0542-4007-A919-7B18C17FF233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F51EA-0581-94B6-14D4-BC3D18AC30CD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partial data</a:t>
            </a:r>
            <a:endParaRPr lang="fr-CH" sz="1400" i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60D543E-BA3E-5796-C01A-EF837BAF1E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70484870"/>
              </p:ext>
            </p:extLst>
          </p:nvPr>
        </p:nvGraphicFramePr>
        <p:xfrm>
          <a:off x="618308" y="1016792"/>
          <a:ext cx="10849791" cy="54205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7088459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Slow </a:t>
            </a: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increase in number of treatments delivered to 5-10 </a:t>
            </a:r>
            <a:r>
              <a:rPr lang="en-US" sz="2800" b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years old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F1147286-4B97-4CDC-B06F-33BD60399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2626" y="2611224"/>
            <a:ext cx="3905474" cy="3362627"/>
          </a:xfrm>
        </p:spPr>
        <p:txBody>
          <a:bodyPr/>
          <a:lstStyle/>
          <a:p>
            <a:r>
              <a:rPr lang="en-US" sz="1800" dirty="0"/>
              <a:t>Shares of 5 to 10 years old receiving SMC slightly increased in 2024</a:t>
            </a:r>
          </a:p>
          <a:p>
            <a:r>
              <a:rPr lang="en-US" sz="1800" dirty="0"/>
              <a:t> stable at just above 1% of treatments delivered.</a:t>
            </a:r>
          </a:p>
          <a:p>
            <a:endParaRPr lang="en-US" sz="1800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24EAE33-EFAF-592B-115C-73E9206ADC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9578774"/>
              </p:ext>
            </p:extLst>
          </p:nvPr>
        </p:nvGraphicFramePr>
        <p:xfrm>
          <a:off x="618309" y="1140311"/>
          <a:ext cx="6400800" cy="5228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901F3DA-FE49-84A1-367C-D33F4BC2552B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partial data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1880766328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327729-7B48-458B-08FD-99CAEC5F96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B6BFF-E9CB-C39E-702A-F7B532BADA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Number of children covered by a 5</a:t>
            </a:r>
            <a:r>
              <a:rPr lang="en-US" sz="2800" b="0" baseline="3000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</a:t>
            </a: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 cycle continue to increase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E48B037-7C7D-F330-4210-399C1FD417EA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ubtitle 7">
            <a:extLst>
              <a:ext uri="{FF2B5EF4-FFF2-40B4-BE49-F238E27FC236}">
                <a16:creationId xmlns:a16="http://schemas.microsoft.com/office/drawing/2014/main" id="{B88A8EED-60DD-8C23-CF67-A21A7428C0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2626" y="2261291"/>
            <a:ext cx="3905474" cy="3401474"/>
          </a:xfrm>
        </p:spPr>
        <p:txBody>
          <a:bodyPr/>
          <a:lstStyle/>
          <a:p>
            <a:r>
              <a:rPr lang="en-US" sz="1800" dirty="0"/>
              <a:t>The number of children covered by a 5</a:t>
            </a:r>
            <a:r>
              <a:rPr lang="en-US" sz="1800" baseline="30000" dirty="0"/>
              <a:t>th</a:t>
            </a:r>
            <a:r>
              <a:rPr lang="en-US" sz="1800" dirty="0"/>
              <a:t> cycle increased from 3.4% in 2021 to 7.2% in 2024</a:t>
            </a:r>
          </a:p>
          <a:p>
            <a:endParaRPr lang="en-US" sz="1800" dirty="0"/>
          </a:p>
          <a:p>
            <a:r>
              <a:rPr lang="en-US" sz="1800" dirty="0"/>
              <a:t>In 2024, 14 countries provided a 5</a:t>
            </a:r>
            <a:r>
              <a:rPr lang="en-US" sz="1800" baseline="30000" dirty="0"/>
              <a:t>th</a:t>
            </a:r>
            <a:r>
              <a:rPr lang="en-US" sz="1800" dirty="0"/>
              <a:t> cycle to some of their children. </a:t>
            </a:r>
          </a:p>
          <a:p>
            <a:endParaRPr lang="en-US" sz="1800" dirty="0"/>
          </a:p>
          <a:p>
            <a:r>
              <a:rPr lang="en-US" sz="1800" dirty="0"/>
              <a:t>New countries in 2024 include Benin, Ghana, Kenya, and Togo.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D601F3A-B5EF-3186-2047-52006C79A5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3769950"/>
              </p:ext>
            </p:extLst>
          </p:nvPr>
        </p:nvGraphicFramePr>
        <p:xfrm>
          <a:off x="618310" y="1282849"/>
          <a:ext cx="6174376" cy="5328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DBA4C94B-88AA-15B3-5AFF-CDEE5925E2C9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partial data</a:t>
            </a:r>
            <a:endParaRPr lang="fr-CH" sz="1400" i="1" dirty="0"/>
          </a:p>
        </p:txBody>
      </p:sp>
    </p:spTree>
    <p:extLst>
      <p:ext uri="{BB962C8B-B14F-4D97-AF65-F5344CB8AC3E}">
        <p14:creationId xmlns:p14="http://schemas.microsoft.com/office/powerpoint/2010/main" val="3277909485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8987CF-14E6-CF53-04EA-E0CB71DD57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C0E00F1-01BB-9234-FDB9-052BC890B0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7735851"/>
              </p:ext>
            </p:extLst>
          </p:nvPr>
        </p:nvGraphicFramePr>
        <p:xfrm>
          <a:off x="6713465" y="1416658"/>
          <a:ext cx="4971460" cy="48333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2C195C-3A3B-F4EB-6C20-4ACC838C4C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Campaign performance per age group and per cycle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80AFF1E7-9C33-3ECA-14D9-3FC2FCD7BD65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8F586982-2808-CBE4-AC5B-3618358BE3F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2878956"/>
              </p:ext>
            </p:extLst>
          </p:nvPr>
        </p:nvGraphicFramePr>
        <p:xfrm>
          <a:off x="618309" y="1426086"/>
          <a:ext cx="4971460" cy="4833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9945789-2AFF-D0B2-F2F8-85E2A6314F0C}"/>
              </a:ext>
            </a:extLst>
          </p:cNvPr>
          <p:cNvSpPr txBox="1"/>
          <p:nvPr/>
        </p:nvSpPr>
        <p:spPr>
          <a:xfrm>
            <a:off x="618309" y="6437376"/>
            <a:ext cx="8891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: partial data, based on districts for which target values were available</a:t>
            </a:r>
            <a:endParaRPr lang="fr-CH" sz="1400" i="1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9F2FDF8-DEDA-D98F-3DAC-5ABD85AB6DC2}"/>
              </a:ext>
            </a:extLst>
          </p:cNvPr>
          <p:cNvCxnSpPr>
            <a:cxnSpLocks/>
          </p:cNvCxnSpPr>
          <p:nvPr/>
        </p:nvCxnSpPr>
        <p:spPr>
          <a:xfrm>
            <a:off x="1181653" y="2509765"/>
            <a:ext cx="440811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3EACC0C-3E85-6FF6-5A29-FE0E1BA8E453}"/>
              </a:ext>
            </a:extLst>
          </p:cNvPr>
          <p:cNvCxnSpPr>
            <a:cxnSpLocks/>
          </p:cNvCxnSpPr>
          <p:nvPr/>
        </p:nvCxnSpPr>
        <p:spPr>
          <a:xfrm>
            <a:off x="7244661" y="2509765"/>
            <a:ext cx="4408116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1601479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E70CD0-81F4-4A8D-ADC4-170D2859B6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309" y="328980"/>
            <a:ext cx="10849791" cy="68579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eaLnBrk="1" fontAlgn="auto" hangingPunct="1">
              <a:lnSpc>
                <a:spcPts val="2600"/>
              </a:lnSpc>
              <a:spcAft>
                <a:spcPts val="0"/>
              </a:spcAft>
            </a:pPr>
            <a: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  <a:t>Thank you for providing the data</a:t>
            </a:r>
            <a:br>
              <a:rPr lang="en-US" sz="2800" b="0" dirty="0">
                <a:latin typeface="Arial" panose="020B0604020202020204" pitchFamily="34" charset="0"/>
                <a:ea typeface="MS PGothic" panose="020B0600070205080204" pitchFamily="34" charset="-128"/>
                <a:cs typeface="MS PGothic" panose="020B0600070205080204" pitchFamily="34" charset="-128"/>
              </a:rPr>
            </a:br>
            <a:endParaRPr lang="en-US" sz="2800" b="0" dirty="0">
              <a:latin typeface="Arial" panose="020B0604020202020204" pitchFamily="34" charset="0"/>
              <a:ea typeface="MS PGothic" panose="020B0600070205080204" pitchFamily="34" charset="-128"/>
              <a:cs typeface="MS PGothic" panose="020B0600070205080204" pitchFamily="34" charset="-128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8DF633F-7E21-4120-B9A9-EACB98BC2C5C}"/>
              </a:ext>
            </a:extLst>
          </p:cNvPr>
          <p:cNvCxnSpPr>
            <a:cxnSpLocks/>
          </p:cNvCxnSpPr>
          <p:nvPr/>
        </p:nvCxnSpPr>
        <p:spPr>
          <a:xfrm>
            <a:off x="630547" y="877533"/>
            <a:ext cx="10837553" cy="0"/>
          </a:xfrm>
          <a:prstGeom prst="line">
            <a:avLst/>
          </a:prstGeom>
          <a:ln w="25400">
            <a:solidFill>
              <a:srgbClr val="66006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Subtitle 7">
            <a:extLst>
              <a:ext uri="{FF2B5EF4-FFF2-40B4-BE49-F238E27FC236}">
                <a16:creationId xmlns:a16="http://schemas.microsoft.com/office/drawing/2014/main" id="{F60DC0CB-C257-30C8-3071-EFD03BA03A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0546" y="990512"/>
            <a:ext cx="10837554" cy="4762577"/>
          </a:xfrm>
        </p:spPr>
        <p:txBody>
          <a:bodyPr/>
          <a:lstStyle/>
          <a:p>
            <a:r>
              <a:rPr lang="en-US" sz="2000" dirty="0"/>
              <a:t>NMCP coordinators, SMC focal point, M&amp;E specialists, partners from: 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Beni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Burkina Faso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ameroo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had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Côte d’Ivoire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han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uine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Guinea Bissau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Kenya</a:t>
            </a:r>
          </a:p>
          <a:p>
            <a:pPr marL="660400" lvl="1" indent="-342900" algn="l">
              <a:lnSpc>
                <a:spcPct val="120000"/>
              </a:lnSpc>
              <a:buFont typeface="Courier New" panose="02070309020205020404" pitchFamily="49" charset="0"/>
              <a:buChar char="o"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42D5F113-8CB7-5162-10A7-82EE127AF031}"/>
              </a:ext>
            </a:extLst>
          </p:cNvPr>
          <p:cNvSpPr txBox="1">
            <a:spLocks/>
          </p:cNvSpPr>
          <p:nvPr/>
        </p:nvSpPr>
        <p:spPr bwMode="auto">
          <a:xfrm>
            <a:off x="3842276" y="1009366"/>
            <a:ext cx="6630903" cy="4762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Wingdings" panose="05000000000000000000" pitchFamily="2" charset="2"/>
              <a:buChar char="l"/>
              <a:defRPr sz="2400" b="0" i="0" kern="1200">
                <a:solidFill>
                  <a:schemeClr val="tx1"/>
                </a:solidFill>
                <a:latin typeface="Arial"/>
                <a:ea typeface="ＭＳ Ｐゴシック" charset="-128"/>
                <a:cs typeface="Arial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ＭＳ Ｐゴシック" pitchFamily="34" charset="-128"/>
                <a:cs typeface="Arial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Courier New" panose="02070309020205020404" pitchFamily="49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b="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60066"/>
              </a:buClr>
              <a:buSzPct val="65000"/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Arial"/>
                <a:ea typeface="Arial" charset="0"/>
                <a:cs typeface="Arial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00" lvl="1" algn="l"/>
            <a:endParaRPr lang="en-US" sz="1800" dirty="0">
              <a:solidFill>
                <a:schemeClr val="tx1"/>
              </a:solidFill>
            </a:endParaRP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ali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auritan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Mozambique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Niger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Niger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enegal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South Sudan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The Gambi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Togo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chemeClr val="tx1"/>
                </a:solidFill>
              </a:rPr>
              <a:t>Uganda</a:t>
            </a:r>
          </a:p>
          <a:p>
            <a:pPr marL="660400" lvl="1" indent="-342900" algn="l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en-US" sz="1800" dirty="0">
              <a:solidFill>
                <a:schemeClr val="tx1"/>
              </a:solidFill>
            </a:endParaRP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17165631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HAspxT.esW8qA7w1I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prO6zS2O7t1XkSwIL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keleton DAY2 MMV 46th Board meeting London.potx" id="{6B2140DE-205D-4375-A316-A0FDD0B1FEED}" vid="{F5658C3C-7152-4CDA-BE54-F99FBEC049E9}"/>
    </a:ext>
  </a:extLst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oard Nov 2018 - Board Membership_SFD" id="{0BAB3EFF-A35A-4969-A8F2-5E44BA012E50}" vid="{CD0EBB2C-D1D5-414B-84B1-504A7A61862E}"/>
    </a:ext>
  </a:extLst>
</a:theme>
</file>

<file path=ppt/theme/theme6.xml><?xml version="1.0" encoding="utf-8"?>
<a:theme xmlns:a="http://schemas.openxmlformats.org/drawingml/2006/main" name="5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MMV">
      <a:dk1>
        <a:srgbClr val="000000"/>
      </a:dk1>
      <a:lt1>
        <a:srgbClr val="FFFFFF"/>
      </a:lt1>
      <a:dk2>
        <a:srgbClr val="7F7F7F"/>
      </a:dk2>
      <a:lt2>
        <a:srgbClr val="957C57"/>
      </a:lt2>
      <a:accent1>
        <a:srgbClr val="A7005F"/>
      </a:accent1>
      <a:accent2>
        <a:srgbClr val="EA5100"/>
      </a:accent2>
      <a:accent3>
        <a:srgbClr val="E4B0BB"/>
      </a:accent3>
      <a:accent4>
        <a:srgbClr val="FFB300"/>
      </a:accent4>
      <a:accent5>
        <a:srgbClr val="C19400"/>
      </a:accent5>
      <a:accent6>
        <a:srgbClr val="7D5E00"/>
      </a:accent6>
      <a:hlink>
        <a:srgbClr val="501830"/>
      </a:hlink>
      <a:folHlink>
        <a:srgbClr val="FEE384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5</Words>
  <Application>Microsoft Office PowerPoint</Application>
  <PresentationFormat>Widescreen</PresentationFormat>
  <Paragraphs>52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2" baseType="lpstr">
      <vt:lpstr>ＭＳ Ｐゴシック</vt:lpstr>
      <vt:lpstr>Arial</vt:lpstr>
      <vt:lpstr>Calibri</vt:lpstr>
      <vt:lpstr>Courier New</vt:lpstr>
      <vt:lpstr>System Font Regular</vt:lpstr>
      <vt:lpstr>Verdana</vt:lpstr>
      <vt:lpstr>Wingdings</vt:lpstr>
      <vt:lpstr>Thème Office</vt:lpstr>
      <vt:lpstr>Custom Design</vt:lpstr>
      <vt:lpstr>1_Custom Design</vt:lpstr>
      <vt:lpstr>2_Custom Design</vt:lpstr>
      <vt:lpstr>3_Custom Design</vt:lpstr>
      <vt:lpstr>5_Thème Office</vt:lpstr>
      <vt:lpstr>Thème Office</vt:lpstr>
      <vt:lpstr>think-cell Slide</vt:lpstr>
      <vt:lpstr>PowerPoint Presentation</vt:lpstr>
      <vt:lpstr>PowerPoint Presentation</vt:lpstr>
      <vt:lpstr>PowerPoint Presentation</vt:lpstr>
      <vt:lpstr>Slow increase in number of treatments delivered to 5-10 years old </vt:lpstr>
      <vt:lpstr>Number of children covered by a 5th cycle continue to increase </vt:lpstr>
      <vt:lpstr>Campaign performance per age group and per cycle </vt:lpstr>
      <vt:lpstr>Thank you for providing the data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MV-supported projects</dc:title>
  <dc:creator>Jaya Banerji</dc:creator>
  <cp:lastModifiedBy>Celine Audibert</cp:lastModifiedBy>
  <cp:revision>1079</cp:revision>
  <cp:lastPrinted>2020-01-14T13:32:23Z</cp:lastPrinted>
  <dcterms:created xsi:type="dcterms:W3CDTF">2018-10-16T01:49:16Z</dcterms:created>
  <dcterms:modified xsi:type="dcterms:W3CDTF">2025-03-05T09:20:47Z</dcterms:modified>
</cp:coreProperties>
</file>